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4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5.xml" ContentType="application/vnd.openxmlformats-officedocument.them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6.xml" ContentType="application/vnd.openxmlformats-officedocument.theme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7.xml" ContentType="application/vnd.openxmlformats-officedocument.theme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8.xml" ContentType="application/vnd.openxmlformats-officedocument.theme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theme/theme9.xml" ContentType="application/vnd.openxmlformats-officedocument.theme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charts/chart1.xml" ContentType="application/vnd.openxmlformats-officedocument.drawingml.chart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notesSlides/notesSlide1.xml" ContentType="application/vnd.openxmlformats-officedocument.presentationml.notesSlide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notesSlides/notesSlide2.xml" ContentType="application/vnd.openxmlformats-officedocument.presentationml.notesSlide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notesSlides/notesSlide3.xml" ContentType="application/vnd.openxmlformats-officedocument.presentationml.notesSlide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notesSlides/notesSlide4.xml" ContentType="application/vnd.openxmlformats-officedocument.presentationml.notesSlide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charts/chart3.xml" ContentType="application/vnd.openxmlformats-officedocument.drawingml.chart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1"/>
    <p:sldMasterId id="2147485318" r:id="rId2"/>
    <p:sldMasterId id="2147485341" r:id="rId3"/>
    <p:sldMasterId id="2147485396" r:id="rId4"/>
    <p:sldMasterId id="2147485483" r:id="rId5"/>
    <p:sldMasterId id="2147485553" r:id="rId6"/>
    <p:sldMasterId id="2147485623" r:id="rId7"/>
    <p:sldMasterId id="2147485639" r:id="rId8"/>
    <p:sldMasterId id="2147485657" r:id="rId9"/>
  </p:sldMasterIdLst>
  <p:notesMasterIdLst>
    <p:notesMasterId r:id="rId29"/>
  </p:notesMasterIdLst>
  <p:handoutMasterIdLst>
    <p:handoutMasterId r:id="rId30"/>
  </p:handoutMasterIdLst>
  <p:sldIdLst>
    <p:sldId id="12102" r:id="rId10"/>
    <p:sldId id="12093" r:id="rId11"/>
    <p:sldId id="12084" r:id="rId12"/>
    <p:sldId id="12083" r:id="rId13"/>
    <p:sldId id="12117" r:id="rId14"/>
    <p:sldId id="12116" r:id="rId15"/>
    <p:sldId id="12085" r:id="rId16"/>
    <p:sldId id="12115" r:id="rId17"/>
    <p:sldId id="12091" r:id="rId18"/>
    <p:sldId id="12023" r:id="rId19"/>
    <p:sldId id="12024" r:id="rId20"/>
    <p:sldId id="12025" r:id="rId21"/>
    <p:sldId id="12026" r:id="rId22"/>
    <p:sldId id="882" r:id="rId23"/>
    <p:sldId id="2043" r:id="rId24"/>
    <p:sldId id="12112" r:id="rId25"/>
    <p:sldId id="12113" r:id="rId26"/>
    <p:sldId id="12092" r:id="rId27"/>
    <p:sldId id="12114" r:id="rId28"/>
  </p:sldIdLst>
  <p:sldSz cx="9906000" cy="6858000" type="A4"/>
  <p:notesSz cx="6797675" cy="9926638"/>
  <p:custShowLst>
    <p:custShow name="Format Guide Workshop" id="0">
      <p:sldLst/>
    </p:custShow>
  </p:custShowLst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4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4093">
          <p15:clr>
            <a:srgbClr val="A4A3A4"/>
          </p15:clr>
        </p15:guide>
        <p15:guide id="4" orient="horz" pos="1797" userDrawn="1">
          <p15:clr>
            <a:srgbClr val="A4A3A4"/>
          </p15:clr>
        </p15:guide>
        <p15:guide id="5" pos="285" userDrawn="1">
          <p15:clr>
            <a:srgbClr val="A4A3A4"/>
          </p15:clr>
        </p15:guide>
        <p15:guide id="6" pos="5955" userDrawn="1">
          <p15:clr>
            <a:srgbClr val="A4A3A4"/>
          </p15:clr>
        </p15:guide>
        <p15:guide id="7" orient="horz" pos="1672">
          <p15:clr>
            <a:srgbClr val="A4A3A4"/>
          </p15:clr>
        </p15:guide>
        <p15:guide id="8" orient="horz" pos="3824">
          <p15:clr>
            <a:srgbClr val="A4A3A4"/>
          </p15:clr>
        </p15:guide>
        <p15:guide id="9" pos="3002">
          <p15:clr>
            <a:srgbClr val="A4A3A4"/>
          </p15:clr>
        </p15:guide>
        <p15:guide id="10" orient="horz" pos="2336">
          <p15:clr>
            <a:srgbClr val="A4A3A4"/>
          </p15:clr>
        </p15:guide>
        <p15:guide id="11" orient="horz" pos="1446">
          <p15:clr>
            <a:srgbClr val="A4A3A4"/>
          </p15:clr>
        </p15:guide>
        <p15:guide id="12" orient="horz" pos="2368">
          <p15:clr>
            <a:srgbClr val="A4A3A4"/>
          </p15:clr>
        </p15:guide>
        <p15:guide id="13" orient="horz" pos="1648">
          <p15:clr>
            <a:srgbClr val="A4A3A4"/>
          </p15:clr>
        </p15:guide>
        <p15:guide id="14" pos="5967">
          <p15:clr>
            <a:srgbClr val="A4A3A4"/>
          </p15:clr>
        </p15:guide>
        <p15:guide id="15" pos="29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ne, Massimiliano" initials="PM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66FF"/>
    <a:srgbClr val="0099FF"/>
    <a:srgbClr val="00CCFF"/>
    <a:srgbClr val="B2D2DE"/>
    <a:srgbClr val="FFD347"/>
    <a:srgbClr val="66CCFF"/>
    <a:srgbClr val="00CC99"/>
    <a:srgbClr val="339966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F9D204-1205-470E-8FD2-D5AEA57B205E}" v="11193" dt="2020-10-12T16:54:04.085"/>
    <p1510:client id="{1CC82CAF-F306-4070-A30F-D603B00D6F53}" v="45027" dt="2020-10-12T16:09:52.7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5226" autoAdjust="0"/>
  </p:normalViewPr>
  <p:slideViewPr>
    <p:cSldViewPr snapToGrid="0">
      <p:cViewPr>
        <p:scale>
          <a:sx n="60" d="100"/>
          <a:sy n="60" d="100"/>
        </p:scale>
        <p:origin x="-1320" y="-156"/>
      </p:cViewPr>
      <p:guideLst>
        <p:guide orient="horz" pos="1480"/>
        <p:guide orient="horz" pos="4093"/>
        <p:guide orient="horz" pos="1797"/>
        <p:guide orient="horz" pos="1672"/>
        <p:guide orient="horz" pos="3824"/>
        <p:guide orient="horz" pos="2336"/>
        <p:guide orient="horz" pos="1446"/>
        <p:guide orient="horz" pos="2368"/>
        <p:guide orient="horz" pos="1648"/>
        <p:guide pos="3120"/>
        <p:guide pos="285"/>
        <p:guide pos="5955"/>
        <p:guide pos="3002"/>
        <p:guide pos="5967"/>
        <p:guide pos="29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ne, Massimiliano" userId="0d871475-8789-43a6-b055-c83c5fb0378a" providerId="ADAL" clId="{0DF9D204-1205-470E-8FD2-D5AEA57B205E}"/>
    <pc:docChg chg="undo custSel addSld delSld modSld">
      <pc:chgData name="Pane, Massimiliano" userId="0d871475-8789-43a6-b055-c83c5fb0378a" providerId="ADAL" clId="{0DF9D204-1205-470E-8FD2-D5AEA57B205E}" dt="2020-10-12T16:53:58.894" v="2728" actId="20577"/>
      <pc:docMkLst>
        <pc:docMk/>
      </pc:docMkLst>
      <pc:sldChg chg="add">
        <pc:chgData name="Pane, Massimiliano" userId="0d871475-8789-43a6-b055-c83c5fb0378a" providerId="ADAL" clId="{0DF9D204-1205-470E-8FD2-D5AEA57B205E}" dt="2020-10-12T16:29:24.335" v="580"/>
        <pc:sldMkLst>
          <pc:docMk/>
          <pc:sldMk cId="3772218816" sldId="882"/>
        </pc:sldMkLst>
      </pc:sldChg>
      <pc:sldChg chg="addSp delSp modSp mod">
        <pc:chgData name="Pane, Massimiliano" userId="0d871475-8789-43a6-b055-c83c5fb0378a" providerId="ADAL" clId="{0DF9D204-1205-470E-8FD2-D5AEA57B205E}" dt="2020-10-12T16:45:24.556" v="1247" actId="1037"/>
        <pc:sldMkLst>
          <pc:docMk/>
          <pc:sldMk cId="167827207" sldId="2043"/>
        </pc:sldMkLst>
        <pc:spChg chg="mod">
          <ac:chgData name="Pane, Massimiliano" userId="0d871475-8789-43a6-b055-c83c5fb0378a" providerId="ADAL" clId="{0DF9D204-1205-470E-8FD2-D5AEA57B205E}" dt="2020-10-12T16:33:21.656" v="724" actId="313"/>
          <ac:spMkLst>
            <pc:docMk/>
            <pc:sldMk cId="167827207" sldId="2043"/>
            <ac:spMk id="20" creationId="{578E0E61-955D-489D-84E2-26B27D6BC42A}"/>
          </ac:spMkLst>
        </pc:spChg>
        <pc:spChg chg="add del mod">
          <ac:chgData name="Pane, Massimiliano" userId="0d871475-8789-43a6-b055-c83c5fb0378a" providerId="ADAL" clId="{0DF9D204-1205-470E-8FD2-D5AEA57B205E}" dt="2020-10-12T16:45:24.556" v="1247" actId="1037"/>
          <ac:spMkLst>
            <pc:docMk/>
            <pc:sldMk cId="167827207" sldId="2043"/>
            <ac:spMk id="24" creationId="{236CA4CF-8C33-4605-ADCC-5B6CDD5764AD}"/>
          </ac:spMkLst>
        </pc:spChg>
        <pc:spChg chg="mod">
          <ac:chgData name="Pane, Massimiliano" userId="0d871475-8789-43a6-b055-c83c5fb0378a" providerId="ADAL" clId="{0DF9D204-1205-470E-8FD2-D5AEA57B205E}" dt="2020-10-12T16:44:53.050" v="1163" actId="1035"/>
          <ac:spMkLst>
            <pc:docMk/>
            <pc:sldMk cId="167827207" sldId="2043"/>
            <ac:spMk id="29" creationId="{09D778E5-5C18-40F8-95C8-152791263934}"/>
          </ac:spMkLst>
        </pc:spChg>
        <pc:picChg chg="del">
          <ac:chgData name="Pane, Massimiliano" userId="0d871475-8789-43a6-b055-c83c5fb0378a" providerId="ADAL" clId="{0DF9D204-1205-470E-8FD2-D5AEA57B205E}" dt="2020-10-12T16:33:41.988" v="725" actId="478"/>
          <ac:picMkLst>
            <pc:docMk/>
            <pc:sldMk cId="167827207" sldId="2043"/>
            <ac:picMk id="2" creationId="{DC03F5AE-3799-4966-8F27-063B87FCFC99}"/>
          </ac:picMkLst>
        </pc:picChg>
        <pc:picChg chg="del mod">
          <ac:chgData name="Pane, Massimiliano" userId="0d871475-8789-43a6-b055-c83c5fb0378a" providerId="ADAL" clId="{0DF9D204-1205-470E-8FD2-D5AEA57B205E}" dt="2020-10-12T16:42:09.937" v="727" actId="478"/>
          <ac:picMkLst>
            <pc:docMk/>
            <pc:sldMk cId="167827207" sldId="2043"/>
            <ac:picMk id="7" creationId="{386D8F99-7CBA-4EA3-B0B9-D5602DE5EBEC}"/>
          </ac:picMkLst>
        </pc:picChg>
        <pc:picChg chg="del mod">
          <ac:chgData name="Pane, Massimiliano" userId="0d871475-8789-43a6-b055-c83c5fb0378a" providerId="ADAL" clId="{0DF9D204-1205-470E-8FD2-D5AEA57B205E}" dt="2020-10-12T16:43:39.191" v="853" actId="478"/>
          <ac:picMkLst>
            <pc:docMk/>
            <pc:sldMk cId="167827207" sldId="2043"/>
            <ac:picMk id="9" creationId="{C1321F6E-6BAF-4904-B18A-75F52938C263}"/>
          </ac:picMkLst>
        </pc:picChg>
        <pc:picChg chg="mod">
          <ac:chgData name="Pane, Massimiliano" userId="0d871475-8789-43a6-b055-c83c5fb0378a" providerId="ADAL" clId="{0DF9D204-1205-470E-8FD2-D5AEA57B205E}" dt="2020-10-12T16:44:58.599" v="1170" actId="1076"/>
          <ac:picMkLst>
            <pc:docMk/>
            <pc:sldMk cId="167827207" sldId="2043"/>
            <ac:picMk id="11" creationId="{B3A9A319-5C4D-42C7-A847-3DEAEF4043C9}"/>
          </ac:picMkLst>
        </pc:picChg>
      </pc:sldChg>
      <pc:sldChg chg="del">
        <pc:chgData name="Pane, Massimiliano" userId="0d871475-8789-43a6-b055-c83c5fb0378a" providerId="ADAL" clId="{0DF9D204-1205-470E-8FD2-D5AEA57B205E}" dt="2020-10-12T16:28:07.466" v="564" actId="47"/>
        <pc:sldMkLst>
          <pc:docMk/>
          <pc:sldMk cId="725362397" sldId="12000"/>
        </pc:sldMkLst>
      </pc:sldChg>
      <pc:sldChg chg="add">
        <pc:chgData name="Pane, Massimiliano" userId="0d871475-8789-43a6-b055-c83c5fb0378a" providerId="ADAL" clId="{0DF9D204-1205-470E-8FD2-D5AEA57B205E}" dt="2020-10-12T16:29:24.335" v="580"/>
        <pc:sldMkLst>
          <pc:docMk/>
          <pc:sldMk cId="596623058" sldId="12026"/>
        </pc:sldMkLst>
      </pc:sldChg>
      <pc:sldChg chg="modSp add del mod">
        <pc:chgData name="Pane, Massimiliano" userId="0d871475-8789-43a6-b055-c83c5fb0378a" providerId="ADAL" clId="{0DF9D204-1205-470E-8FD2-D5AEA57B205E}" dt="2020-10-12T16:28:30.237" v="575" actId="47"/>
        <pc:sldMkLst>
          <pc:docMk/>
          <pc:sldMk cId="3755326651" sldId="12040"/>
        </pc:sldMkLst>
        <pc:graphicFrameChg chg="mod">
          <ac:chgData name="Pane, Massimiliano" userId="0d871475-8789-43a6-b055-c83c5fb0378a" providerId="ADAL" clId="{0DF9D204-1205-470E-8FD2-D5AEA57B205E}" dt="2020-10-12T16:28:17.290" v="571"/>
          <ac:graphicFrameMkLst>
            <pc:docMk/>
            <pc:sldMk cId="3755326651" sldId="12040"/>
            <ac:graphicFrameMk id="7" creationId="{483C54E4-B76D-4E46-8A01-D55AEA75BD60}"/>
          </ac:graphicFrameMkLst>
        </pc:graphicFrameChg>
      </pc:sldChg>
      <pc:sldChg chg="del">
        <pc:chgData name="Pane, Massimiliano" userId="0d871475-8789-43a6-b055-c83c5fb0378a" providerId="ADAL" clId="{0DF9D204-1205-470E-8FD2-D5AEA57B205E}" dt="2020-10-12T16:27:55.752" v="562" actId="47"/>
        <pc:sldMkLst>
          <pc:docMk/>
          <pc:sldMk cId="2083785921" sldId="12071"/>
        </pc:sldMkLst>
      </pc:sldChg>
      <pc:sldChg chg="modSp add del mod">
        <pc:chgData name="Pane, Massimiliano" userId="0d871475-8789-43a6-b055-c83c5fb0378a" providerId="ADAL" clId="{0DF9D204-1205-470E-8FD2-D5AEA57B205E}" dt="2020-10-12T16:32:16.199" v="699" actId="1035"/>
        <pc:sldMkLst>
          <pc:docMk/>
          <pc:sldMk cId="3332590523" sldId="12083"/>
        </pc:sldMkLst>
        <pc:spChg chg="mod">
          <ac:chgData name="Pane, Massimiliano" userId="0d871475-8789-43a6-b055-c83c5fb0378a" providerId="ADAL" clId="{0DF9D204-1205-470E-8FD2-D5AEA57B205E}" dt="2020-10-12T16:31:44.242" v="695" actId="207"/>
          <ac:spMkLst>
            <pc:docMk/>
            <pc:sldMk cId="3332590523" sldId="12083"/>
            <ac:spMk id="17" creationId="{56507842-4582-48A5-8306-8D9AAAD6DB98}"/>
          </ac:spMkLst>
        </pc:spChg>
        <pc:spChg chg="mod">
          <ac:chgData name="Pane, Massimiliano" userId="0d871475-8789-43a6-b055-c83c5fb0378a" providerId="ADAL" clId="{0DF9D204-1205-470E-8FD2-D5AEA57B205E}" dt="2020-10-12T16:31:45.784" v="696" actId="207"/>
          <ac:spMkLst>
            <pc:docMk/>
            <pc:sldMk cId="3332590523" sldId="12083"/>
            <ac:spMk id="23" creationId="{48D925CB-6447-4FA8-82B2-3C100C11BB32}"/>
          </ac:spMkLst>
        </pc:spChg>
        <pc:spChg chg="mod">
          <ac:chgData name="Pane, Massimiliano" userId="0d871475-8789-43a6-b055-c83c5fb0378a" providerId="ADAL" clId="{0DF9D204-1205-470E-8FD2-D5AEA57B205E}" dt="2020-10-12T16:31:19.173" v="693" actId="1076"/>
          <ac:spMkLst>
            <pc:docMk/>
            <pc:sldMk cId="3332590523" sldId="12083"/>
            <ac:spMk id="28" creationId="{CAC4A774-D684-4DC9-9297-7DA0C2FB7F0B}"/>
          </ac:spMkLst>
        </pc:spChg>
        <pc:spChg chg="mod">
          <ac:chgData name="Pane, Massimiliano" userId="0d871475-8789-43a6-b055-c83c5fb0378a" providerId="ADAL" clId="{0DF9D204-1205-470E-8FD2-D5AEA57B205E}" dt="2020-10-12T16:31:41.688" v="694" actId="207"/>
          <ac:spMkLst>
            <pc:docMk/>
            <pc:sldMk cId="3332590523" sldId="12083"/>
            <ac:spMk id="29" creationId="{50C17287-0B28-43AF-88E9-9E68E16B4104}"/>
          </ac:spMkLst>
        </pc:spChg>
        <pc:spChg chg="mod">
          <ac:chgData name="Pane, Massimiliano" userId="0d871475-8789-43a6-b055-c83c5fb0378a" providerId="ADAL" clId="{0DF9D204-1205-470E-8FD2-D5AEA57B205E}" dt="2020-10-12T16:31:03.464" v="645" actId="1035"/>
          <ac:spMkLst>
            <pc:docMk/>
            <pc:sldMk cId="3332590523" sldId="12083"/>
            <ac:spMk id="31" creationId="{852C2A21-F16A-4C7A-B851-4A0F9E08B2B1}"/>
          </ac:spMkLst>
        </pc:spChg>
        <pc:spChg chg="mod">
          <ac:chgData name="Pane, Massimiliano" userId="0d871475-8789-43a6-b055-c83c5fb0378a" providerId="ADAL" clId="{0DF9D204-1205-470E-8FD2-D5AEA57B205E}" dt="2020-10-12T16:32:16.199" v="699" actId="1035"/>
          <ac:spMkLst>
            <pc:docMk/>
            <pc:sldMk cId="3332590523" sldId="12083"/>
            <ac:spMk id="33" creationId="{852C2A21-F16A-4C7A-B851-4A0F9E08B2B1}"/>
          </ac:spMkLst>
        </pc:spChg>
      </pc:sldChg>
      <pc:sldChg chg="addSp delSp modSp mod">
        <pc:chgData name="Pane, Massimiliano" userId="0d871475-8789-43a6-b055-c83c5fb0378a" providerId="ADAL" clId="{0DF9D204-1205-470E-8FD2-D5AEA57B205E}" dt="2020-10-12T16:25:48.900" v="560" actId="552"/>
        <pc:sldMkLst>
          <pc:docMk/>
          <pc:sldMk cId="3846757995" sldId="12084"/>
        </pc:sldMkLst>
        <pc:spChg chg="add mod">
          <ac:chgData name="Pane, Massimiliano" userId="0d871475-8789-43a6-b055-c83c5fb0378a" providerId="ADAL" clId="{0DF9D204-1205-470E-8FD2-D5AEA57B205E}" dt="2020-10-12T16:25:48.900" v="560" actId="552"/>
          <ac:spMkLst>
            <pc:docMk/>
            <pc:sldMk cId="3846757995" sldId="12084"/>
            <ac:spMk id="5" creationId="{D26D2A9E-D619-42CE-87A9-DC166E19C640}"/>
          </ac:spMkLst>
        </pc:spChg>
        <pc:spChg chg="del mod">
          <ac:chgData name="Pane, Massimiliano" userId="0d871475-8789-43a6-b055-c83c5fb0378a" providerId="ADAL" clId="{0DF9D204-1205-470E-8FD2-D5AEA57B205E}" dt="2020-10-12T16:23:59.477" v="346" actId="478"/>
          <ac:spMkLst>
            <pc:docMk/>
            <pc:sldMk cId="3846757995" sldId="12084"/>
            <ac:spMk id="9" creationId="{554B5B28-AB7D-4940-92C1-A60B1234F991}"/>
          </ac:spMkLst>
        </pc:spChg>
        <pc:spChg chg="add mod">
          <ac:chgData name="Pane, Massimiliano" userId="0d871475-8789-43a6-b055-c83c5fb0378a" providerId="ADAL" clId="{0DF9D204-1205-470E-8FD2-D5AEA57B205E}" dt="2020-10-12T16:25:48.900" v="560" actId="552"/>
          <ac:spMkLst>
            <pc:docMk/>
            <pc:sldMk cId="3846757995" sldId="12084"/>
            <ac:spMk id="35" creationId="{B7337660-EAE1-48BD-B0B9-B6B18D23E145}"/>
          </ac:spMkLst>
        </pc:spChg>
        <pc:spChg chg="add mod">
          <ac:chgData name="Pane, Massimiliano" userId="0d871475-8789-43a6-b055-c83c5fb0378a" providerId="ADAL" clId="{0DF9D204-1205-470E-8FD2-D5AEA57B205E}" dt="2020-10-12T16:25:48.900" v="560" actId="552"/>
          <ac:spMkLst>
            <pc:docMk/>
            <pc:sldMk cId="3846757995" sldId="12084"/>
            <ac:spMk id="36" creationId="{B980434A-78A9-468C-9B5F-1661B6D195DD}"/>
          </ac:spMkLst>
        </pc:spChg>
        <pc:spChg chg="del mod">
          <ac:chgData name="Pane, Massimiliano" userId="0d871475-8789-43a6-b055-c83c5fb0378a" providerId="ADAL" clId="{0DF9D204-1205-470E-8FD2-D5AEA57B205E}" dt="2020-10-12T16:23:59.477" v="346" actId="478"/>
          <ac:spMkLst>
            <pc:docMk/>
            <pc:sldMk cId="3846757995" sldId="12084"/>
            <ac:spMk id="62" creationId="{70D65850-B5FA-4B09-A62D-4103CE1F37E7}"/>
          </ac:spMkLst>
        </pc:spChg>
        <pc:spChg chg="del mod">
          <ac:chgData name="Pane, Massimiliano" userId="0d871475-8789-43a6-b055-c83c5fb0378a" providerId="ADAL" clId="{0DF9D204-1205-470E-8FD2-D5AEA57B205E}" dt="2020-10-12T16:23:57.072" v="345" actId="478"/>
          <ac:spMkLst>
            <pc:docMk/>
            <pc:sldMk cId="3846757995" sldId="12084"/>
            <ac:spMk id="63" creationId="{63F13B30-9504-4AF6-A651-8285CE1E3696}"/>
          </ac:spMkLst>
        </pc:spChg>
        <pc:spChg chg="del mod">
          <ac:chgData name="Pane, Massimiliano" userId="0d871475-8789-43a6-b055-c83c5fb0378a" providerId="ADAL" clId="{0DF9D204-1205-470E-8FD2-D5AEA57B205E}" dt="2020-10-12T16:23:57.072" v="345" actId="478"/>
          <ac:spMkLst>
            <pc:docMk/>
            <pc:sldMk cId="3846757995" sldId="12084"/>
            <ac:spMk id="65" creationId="{F56A903A-02DD-4724-9FFA-A75E81FC590F}"/>
          </ac:spMkLst>
        </pc:spChg>
        <pc:spChg chg="del mod">
          <ac:chgData name="Pane, Massimiliano" userId="0d871475-8789-43a6-b055-c83c5fb0378a" providerId="ADAL" clId="{0DF9D204-1205-470E-8FD2-D5AEA57B205E}" dt="2020-10-12T16:23:57.072" v="345" actId="478"/>
          <ac:spMkLst>
            <pc:docMk/>
            <pc:sldMk cId="3846757995" sldId="12084"/>
            <ac:spMk id="66" creationId="{D7139483-E384-487B-84BC-627D515004F0}"/>
          </ac:spMkLst>
        </pc:spChg>
      </pc:sldChg>
      <pc:sldChg chg="add">
        <pc:chgData name="Pane, Massimiliano" userId="0d871475-8789-43a6-b055-c83c5fb0378a" providerId="ADAL" clId="{0DF9D204-1205-470E-8FD2-D5AEA57B205E}" dt="2020-10-12T16:28:05.340" v="563"/>
        <pc:sldMkLst>
          <pc:docMk/>
          <pc:sldMk cId="348376083" sldId="12085"/>
        </pc:sldMkLst>
      </pc:sldChg>
      <pc:sldChg chg="modSp add del mod addCm delCm">
        <pc:chgData name="Pane, Massimiliano" userId="0d871475-8789-43a6-b055-c83c5fb0378a" providerId="ADAL" clId="{0DF9D204-1205-470E-8FD2-D5AEA57B205E}" dt="2020-10-12T16:28:57.321" v="579" actId="207"/>
        <pc:sldMkLst>
          <pc:docMk/>
          <pc:sldMk cId="4240348641" sldId="12091"/>
        </pc:sldMkLst>
        <pc:spChg chg="mod">
          <ac:chgData name="Pane, Massimiliano" userId="0d871475-8789-43a6-b055-c83c5fb0378a" providerId="ADAL" clId="{0DF9D204-1205-470E-8FD2-D5AEA57B205E}" dt="2020-10-12T16:28:57.321" v="579" actId="207"/>
          <ac:spMkLst>
            <pc:docMk/>
            <pc:sldMk cId="4240348641" sldId="12091"/>
            <ac:spMk id="16" creationId="{00000000-0000-0000-0000-000000000000}"/>
          </ac:spMkLst>
        </pc:spChg>
      </pc:sldChg>
      <pc:sldChg chg="addSp modSp mod">
        <pc:chgData name="Pane, Massimiliano" userId="0d871475-8789-43a6-b055-c83c5fb0378a" providerId="ADAL" clId="{0DF9D204-1205-470E-8FD2-D5AEA57B205E}" dt="2020-10-12T16:22:07.397" v="192" actId="1076"/>
        <pc:sldMkLst>
          <pc:docMk/>
          <pc:sldMk cId="2544129444" sldId="12093"/>
        </pc:sldMkLst>
        <pc:spChg chg="mod">
          <ac:chgData name="Pane, Massimiliano" userId="0d871475-8789-43a6-b055-c83c5fb0378a" providerId="ADAL" clId="{0DF9D204-1205-470E-8FD2-D5AEA57B205E}" dt="2020-10-12T16:13:31.311" v="116" actId="6549"/>
          <ac:spMkLst>
            <pc:docMk/>
            <pc:sldMk cId="2544129444" sldId="12093"/>
            <ac:spMk id="3" creationId="{CBABC029-E03E-4938-9632-10ECF1A1FDDF}"/>
          </ac:spMkLst>
        </pc:spChg>
        <pc:spChg chg="add mod">
          <ac:chgData name="Pane, Massimiliano" userId="0d871475-8789-43a6-b055-c83c5fb0378a" providerId="ADAL" clId="{0DF9D204-1205-470E-8FD2-D5AEA57B205E}" dt="2020-10-12T16:13:25.988" v="81" actId="20577"/>
          <ac:spMkLst>
            <pc:docMk/>
            <pc:sldMk cId="2544129444" sldId="12093"/>
            <ac:spMk id="5" creationId="{B09ED262-069D-4A48-AB19-6A79A23264FF}"/>
          </ac:spMkLst>
        </pc:spChg>
        <pc:spChg chg="mod">
          <ac:chgData name="Pane, Massimiliano" userId="0d871475-8789-43a6-b055-c83c5fb0378a" providerId="ADAL" clId="{0DF9D204-1205-470E-8FD2-D5AEA57B205E}" dt="2020-10-12T16:13:31.339" v="123"/>
          <ac:spMkLst>
            <pc:docMk/>
            <pc:sldMk cId="2544129444" sldId="12093"/>
            <ac:spMk id="11" creationId="{3D23D2DC-8C06-42DB-8877-7AA19C048893}"/>
          </ac:spMkLst>
        </pc:spChg>
        <pc:spChg chg="mod">
          <ac:chgData name="Pane, Massimiliano" userId="0d871475-8789-43a6-b055-c83c5fb0378a" providerId="ADAL" clId="{0DF9D204-1205-470E-8FD2-D5AEA57B205E}" dt="2020-10-12T16:22:07.397" v="192" actId="1076"/>
          <ac:spMkLst>
            <pc:docMk/>
            <pc:sldMk cId="2544129444" sldId="12093"/>
            <ac:spMk id="169" creationId="{FD56E6FC-D02B-4678-9220-02A9EA31DADB}"/>
          </ac:spMkLst>
        </pc:spChg>
        <pc:spChg chg="mod">
          <ac:chgData name="Pane, Massimiliano" userId="0d871475-8789-43a6-b055-c83c5fb0378a" providerId="ADAL" clId="{0DF9D204-1205-470E-8FD2-D5AEA57B205E}" dt="2020-10-12T16:22:05.631" v="191" actId="14100"/>
          <ac:spMkLst>
            <pc:docMk/>
            <pc:sldMk cId="2544129444" sldId="12093"/>
            <ac:spMk id="171" creationId="{7CB65720-51AC-405B-8B27-21DD1DECE97E}"/>
          </ac:spMkLst>
        </pc:spChg>
        <pc:graphicFrameChg chg="mod">
          <ac:chgData name="Pane, Massimiliano" userId="0d871475-8789-43a6-b055-c83c5fb0378a" providerId="ADAL" clId="{0DF9D204-1205-470E-8FD2-D5AEA57B205E}" dt="2020-10-12T16:13:31.375" v="130"/>
          <ac:graphicFrameMkLst>
            <pc:docMk/>
            <pc:sldMk cId="2544129444" sldId="12093"/>
            <ac:graphicFrameMk id="4" creationId="{C4A0E478-ACC3-4707-883C-3BBAE464DB13}"/>
          </ac:graphicFrameMkLst>
        </pc:graphicFrameChg>
        <pc:cxnChg chg="mod">
          <ac:chgData name="Pane, Massimiliano" userId="0d871475-8789-43a6-b055-c83c5fb0378a" providerId="ADAL" clId="{0DF9D204-1205-470E-8FD2-D5AEA57B205E}" dt="2020-10-12T16:13:31.336" v="121" actId="16931"/>
          <ac:cxnSpMkLst>
            <pc:docMk/>
            <pc:sldMk cId="2544129444" sldId="12093"/>
            <ac:cxnSpMk id="133" creationId="{15C49F2B-C71E-4E9E-9482-2247E7566FAC}"/>
          </ac:cxnSpMkLst>
        </pc:cxnChg>
        <pc:cxnChg chg="mod">
          <ac:chgData name="Pane, Massimiliano" userId="0d871475-8789-43a6-b055-c83c5fb0378a" providerId="ADAL" clId="{0DF9D204-1205-470E-8FD2-D5AEA57B205E}" dt="2020-10-12T16:13:31.358" v="128" actId="16931"/>
          <ac:cxnSpMkLst>
            <pc:docMk/>
            <pc:sldMk cId="2544129444" sldId="12093"/>
            <ac:cxnSpMk id="135" creationId="{8219F865-4A3C-4DF5-B6BA-F8CA535F5571}"/>
          </ac:cxnSpMkLst>
        </pc:cxnChg>
      </pc:sldChg>
      <pc:sldChg chg="del">
        <pc:chgData name="Pane, Massimiliano" userId="0d871475-8789-43a6-b055-c83c5fb0378a" providerId="ADAL" clId="{0DF9D204-1205-470E-8FD2-D5AEA57B205E}" dt="2020-10-12T16:29:31.614" v="581" actId="47"/>
        <pc:sldMkLst>
          <pc:docMk/>
          <pc:sldMk cId="3666609991" sldId="12109"/>
        </pc:sldMkLst>
      </pc:sldChg>
      <pc:sldChg chg="del">
        <pc:chgData name="Pane, Massimiliano" userId="0d871475-8789-43a6-b055-c83c5fb0378a" providerId="ADAL" clId="{0DF9D204-1205-470E-8FD2-D5AEA57B205E}" dt="2020-10-12T16:29:38.273" v="582" actId="47"/>
        <pc:sldMkLst>
          <pc:docMk/>
          <pc:sldMk cId="1416882032" sldId="12110"/>
        </pc:sldMkLst>
      </pc:sldChg>
      <pc:sldChg chg="addSp delSp modSp mod">
        <pc:chgData name="Pane, Massimiliano" userId="0d871475-8789-43a6-b055-c83c5fb0378a" providerId="ADAL" clId="{0DF9D204-1205-470E-8FD2-D5AEA57B205E}" dt="2020-10-12T16:53:32.862" v="2715" actId="14100"/>
        <pc:sldMkLst>
          <pc:docMk/>
          <pc:sldMk cId="138894979" sldId="12113"/>
        </pc:sldMkLst>
        <pc:spChg chg="mod">
          <ac:chgData name="Pane, Massimiliano" userId="0d871475-8789-43a6-b055-c83c5fb0378a" providerId="ADAL" clId="{0DF9D204-1205-470E-8FD2-D5AEA57B205E}" dt="2020-10-12T16:52:46.657" v="2624"/>
          <ac:spMkLst>
            <pc:docMk/>
            <pc:sldMk cId="138894979" sldId="12113"/>
            <ac:spMk id="3" creationId="{00000000-0000-0000-0000-000000000000}"/>
          </ac:spMkLst>
        </pc:spChg>
        <pc:spChg chg="mod ord">
          <ac:chgData name="Pane, Massimiliano" userId="0d871475-8789-43a6-b055-c83c5fb0378a" providerId="ADAL" clId="{0DF9D204-1205-470E-8FD2-D5AEA57B205E}" dt="2020-10-12T16:52:46.655" v="2623"/>
          <ac:spMkLst>
            <pc:docMk/>
            <pc:sldMk cId="138894979" sldId="12113"/>
            <ac:spMk id="4" creationId="{00000000-0000-0000-0000-000000000000}"/>
          </ac:spMkLst>
        </pc:spChg>
        <pc:spChg chg="add mod ord">
          <ac:chgData name="Pane, Massimiliano" userId="0d871475-8789-43a6-b055-c83c5fb0378a" providerId="ADAL" clId="{0DF9D204-1205-470E-8FD2-D5AEA57B205E}" dt="2020-10-12T16:52:49.353" v="2687" actId="1037"/>
          <ac:spMkLst>
            <pc:docMk/>
            <pc:sldMk cId="138894979" sldId="12113"/>
            <ac:spMk id="5" creationId="{908C2ADE-B7B0-44A5-94CB-2ECD0D80B18C}"/>
          </ac:spMkLst>
        </pc:spChg>
        <pc:spChg chg="add mod ord">
          <ac:chgData name="Pane, Massimiliano" userId="0d871475-8789-43a6-b055-c83c5fb0378a" providerId="ADAL" clId="{0DF9D204-1205-470E-8FD2-D5AEA57B205E}" dt="2020-10-12T16:53:32.862" v="2715" actId="14100"/>
          <ac:spMkLst>
            <pc:docMk/>
            <pc:sldMk cId="138894979" sldId="12113"/>
            <ac:spMk id="6" creationId="{8D7E2D34-9861-4C74-BBB5-B9D5CB140403}"/>
          </ac:spMkLst>
        </pc:spChg>
        <pc:spChg chg="add mod">
          <ac:chgData name="Pane, Massimiliano" userId="0d871475-8789-43a6-b055-c83c5fb0378a" providerId="ADAL" clId="{0DF9D204-1205-470E-8FD2-D5AEA57B205E}" dt="2020-10-12T16:52:46.707" v="2651"/>
          <ac:spMkLst>
            <pc:docMk/>
            <pc:sldMk cId="138894979" sldId="12113"/>
            <ac:spMk id="42" creationId="{6CB7CFCB-5FEC-4623-A0B3-E8D299354263}"/>
          </ac:spMkLst>
        </pc:spChg>
        <pc:spChg chg="del mod ord">
          <ac:chgData name="Pane, Massimiliano" userId="0d871475-8789-43a6-b055-c83c5fb0378a" providerId="ADAL" clId="{0DF9D204-1205-470E-8FD2-D5AEA57B205E}" dt="2020-10-12T16:52:37.729" v="2187"/>
          <ac:spMkLst>
            <pc:docMk/>
            <pc:sldMk cId="138894979" sldId="12113"/>
            <ac:spMk id="64" creationId="{2A50B5FE-E37B-404D-9540-D2F0468D028E}"/>
          </ac:spMkLst>
        </pc:spChg>
        <pc:spChg chg="mod ord">
          <ac:chgData name="Pane, Massimiliano" userId="0d871475-8789-43a6-b055-c83c5fb0378a" providerId="ADAL" clId="{0DF9D204-1205-470E-8FD2-D5AEA57B205E}" dt="2020-10-12T16:52:46.721" v="2659"/>
          <ac:spMkLst>
            <pc:docMk/>
            <pc:sldMk cId="138894979" sldId="12113"/>
            <ac:spMk id="67" creationId="{79C82E0E-7AE6-4212-9AAD-64925195C449}"/>
          </ac:spMkLst>
        </pc:spChg>
        <pc:spChg chg="mod">
          <ac:chgData name="Pane, Massimiliano" userId="0d871475-8789-43a6-b055-c83c5fb0378a" providerId="ADAL" clId="{0DF9D204-1205-470E-8FD2-D5AEA57B205E}" dt="2020-10-12T16:52:46.724" v="2661"/>
          <ac:spMkLst>
            <pc:docMk/>
            <pc:sldMk cId="138894979" sldId="12113"/>
            <ac:spMk id="69" creationId="{25A830A9-002E-4583-B71D-53C7B0ED2D39}"/>
          </ac:spMkLst>
        </pc:spChg>
        <pc:spChg chg="del mod ord">
          <ac:chgData name="Pane, Massimiliano" userId="0d871475-8789-43a6-b055-c83c5fb0378a" providerId="ADAL" clId="{0DF9D204-1205-470E-8FD2-D5AEA57B205E}" dt="2020-10-12T16:52:40.278" v="2364"/>
          <ac:spMkLst>
            <pc:docMk/>
            <pc:sldMk cId="138894979" sldId="12113"/>
            <ac:spMk id="73" creationId="{40D714C2-EDC8-42FC-A3DB-A383988135E0}"/>
          </ac:spMkLst>
        </pc:spChg>
        <pc:spChg chg="mod">
          <ac:chgData name="Pane, Massimiliano" userId="0d871475-8789-43a6-b055-c83c5fb0378a" providerId="ADAL" clId="{0DF9D204-1205-470E-8FD2-D5AEA57B205E}" dt="2020-10-12T16:52:46.723" v="2660"/>
          <ac:spMkLst>
            <pc:docMk/>
            <pc:sldMk cId="138894979" sldId="12113"/>
            <ac:spMk id="74" creationId="{E8589E6A-8EBD-45BD-AE5B-FF286DF838B6}"/>
          </ac:spMkLst>
        </pc:spChg>
        <pc:spChg chg="mod">
          <ac:chgData name="Pane, Massimiliano" userId="0d871475-8789-43a6-b055-c83c5fb0378a" providerId="ADAL" clId="{0DF9D204-1205-470E-8FD2-D5AEA57B205E}" dt="2020-10-12T16:52:46.726" v="2662"/>
          <ac:spMkLst>
            <pc:docMk/>
            <pc:sldMk cId="138894979" sldId="12113"/>
            <ac:spMk id="85" creationId="{8D8F1E5C-6A66-4EB2-A5A9-3C7534B993A6}"/>
          </ac:spMkLst>
        </pc:spChg>
        <pc:spChg chg="mod">
          <ac:chgData name="Pane, Massimiliano" userId="0d871475-8789-43a6-b055-c83c5fb0378a" providerId="ADAL" clId="{0DF9D204-1205-470E-8FD2-D5AEA57B205E}" dt="2020-10-12T16:52:46.700" v="2647"/>
          <ac:spMkLst>
            <pc:docMk/>
            <pc:sldMk cId="138894979" sldId="12113"/>
            <ac:spMk id="111" creationId="{BE03BBC7-2679-4B38-9C51-3F8B72A6B644}"/>
          </ac:spMkLst>
        </pc:spChg>
        <pc:spChg chg="mod">
          <ac:chgData name="Pane, Massimiliano" userId="0d871475-8789-43a6-b055-c83c5fb0378a" providerId="ADAL" clId="{0DF9D204-1205-470E-8FD2-D5AEA57B205E}" dt="2020-10-12T16:52:46.702" v="2648"/>
          <ac:spMkLst>
            <pc:docMk/>
            <pc:sldMk cId="138894979" sldId="12113"/>
            <ac:spMk id="117" creationId="{64F70B57-FB3B-4F13-BA04-D0D1B037792F}"/>
          </ac:spMkLst>
        </pc:spChg>
        <pc:spChg chg="mod">
          <ac:chgData name="Pane, Massimiliano" userId="0d871475-8789-43a6-b055-c83c5fb0378a" providerId="ADAL" clId="{0DF9D204-1205-470E-8FD2-D5AEA57B205E}" dt="2020-10-12T16:52:46.704" v="2649"/>
          <ac:spMkLst>
            <pc:docMk/>
            <pc:sldMk cId="138894979" sldId="12113"/>
            <ac:spMk id="121" creationId="{F47E86B8-9F43-4E23-89FE-B17F5AB23BAD}"/>
          </ac:spMkLst>
        </pc:spChg>
        <pc:spChg chg="mod">
          <ac:chgData name="Pane, Massimiliano" userId="0d871475-8789-43a6-b055-c83c5fb0378a" providerId="ADAL" clId="{0DF9D204-1205-470E-8FD2-D5AEA57B205E}" dt="2020-10-12T16:52:46.705" v="2650"/>
          <ac:spMkLst>
            <pc:docMk/>
            <pc:sldMk cId="138894979" sldId="12113"/>
            <ac:spMk id="128" creationId="{AD7178CC-9D9B-4B92-A4DB-ABA64407939E}"/>
          </ac:spMkLst>
        </pc:spChg>
        <pc:grpChg chg="mod">
          <ac:chgData name="Pane, Massimiliano" userId="0d871475-8789-43a6-b055-c83c5fb0378a" providerId="ADAL" clId="{0DF9D204-1205-470E-8FD2-D5AEA57B205E}" dt="2020-10-12T16:52:46.730" v="2665"/>
          <ac:grpSpMkLst>
            <pc:docMk/>
            <pc:sldMk cId="138894979" sldId="12113"/>
            <ac:grpSpMk id="95" creationId="{23F3FFAC-552E-4B40-AEE9-B2D109ED280A}"/>
          </ac:grpSpMkLst>
        </pc:grpChg>
        <pc:graphicFrameChg chg="mod ord">
          <ac:chgData name="Pane, Massimiliano" userId="0d871475-8789-43a6-b055-c83c5fb0378a" providerId="ADAL" clId="{0DF9D204-1205-470E-8FD2-D5AEA57B205E}" dt="2020-10-12T16:52:46.729" v="2664"/>
          <ac:graphicFrameMkLst>
            <pc:docMk/>
            <pc:sldMk cId="138894979" sldId="12113"/>
            <ac:graphicFrameMk id="24" creationId="{4D9C0071-B49F-4BFD-9887-AB9C0B515FAA}"/>
          </ac:graphicFrameMkLst>
        </pc:graphicFrameChg>
        <pc:graphicFrameChg chg="del">
          <ac:chgData name="Pane, Massimiliano" userId="0d871475-8789-43a6-b055-c83c5fb0378a" providerId="ADAL" clId="{0DF9D204-1205-470E-8FD2-D5AEA57B205E}" dt="2020-10-12T16:47:55.313" v="1710"/>
          <ac:graphicFrameMkLst>
            <pc:docMk/>
            <pc:sldMk cId="138894979" sldId="12113"/>
            <ac:graphicFrameMk id="41" creationId="{B8C101AF-FA06-45FC-9BCD-FC2C23712766}"/>
          </ac:graphicFrameMkLst>
        </pc:graphicFrameChg>
        <pc:graphicFrameChg chg="add del mod ord">
          <ac:chgData name="Pane, Massimiliano" userId="0d871475-8789-43a6-b055-c83c5fb0378a" providerId="ADAL" clId="{0DF9D204-1205-470E-8FD2-D5AEA57B205E}" dt="2020-10-12T16:50:47.893" v="2027"/>
          <ac:graphicFrameMkLst>
            <pc:docMk/>
            <pc:sldMk cId="138894979" sldId="12113"/>
            <ac:graphicFrameMk id="43" creationId="{DCBA690F-C51A-4C8B-A2A0-503DFF95B9EE}"/>
          </ac:graphicFrameMkLst>
        </pc:graphicFrameChg>
        <pc:graphicFrameChg chg="add del mod ord">
          <ac:chgData name="Pane, Massimiliano" userId="0d871475-8789-43a6-b055-c83c5fb0378a" providerId="ADAL" clId="{0DF9D204-1205-470E-8FD2-D5AEA57B205E}" dt="2020-10-12T16:52:37.989" v="2251"/>
          <ac:graphicFrameMkLst>
            <pc:docMk/>
            <pc:sldMk cId="138894979" sldId="12113"/>
            <ac:graphicFrameMk id="45" creationId="{BA6F2DD4-E5F3-4B6D-B941-086E4B7EE972}"/>
          </ac:graphicFrameMkLst>
        </pc:graphicFrameChg>
        <pc:graphicFrameChg chg="add del mod ord">
          <ac:chgData name="Pane, Massimiliano" userId="0d871475-8789-43a6-b055-c83c5fb0378a" providerId="ADAL" clId="{0DF9D204-1205-470E-8FD2-D5AEA57B205E}" dt="2020-10-12T16:52:40.524" v="2412"/>
          <ac:graphicFrameMkLst>
            <pc:docMk/>
            <pc:sldMk cId="138894979" sldId="12113"/>
            <ac:graphicFrameMk id="46" creationId="{440D19CF-858B-43C3-97E2-12D8619F1DE5}"/>
          </ac:graphicFrameMkLst>
        </pc:graphicFrameChg>
        <pc:graphicFrameChg chg="add del mod ord">
          <ac:chgData name="Pane, Massimiliano" userId="0d871475-8789-43a6-b055-c83c5fb0378a" providerId="ADAL" clId="{0DF9D204-1205-470E-8FD2-D5AEA57B205E}" dt="2020-10-12T16:52:46.459" v="2578"/>
          <ac:graphicFrameMkLst>
            <pc:docMk/>
            <pc:sldMk cId="138894979" sldId="12113"/>
            <ac:graphicFrameMk id="47" creationId="{34809F34-2D15-4316-8F2D-B0FF74FE37B3}"/>
          </ac:graphicFrameMkLst>
        </pc:graphicFrameChg>
        <pc:graphicFrameChg chg="add mod ord">
          <ac:chgData name="Pane, Massimiliano" userId="0d871475-8789-43a6-b055-c83c5fb0378a" providerId="ADAL" clId="{0DF9D204-1205-470E-8FD2-D5AEA57B205E}" dt="2020-10-12T16:52:46.699" v="2646"/>
          <ac:graphicFrameMkLst>
            <pc:docMk/>
            <pc:sldMk cId="138894979" sldId="12113"/>
            <ac:graphicFrameMk id="49" creationId="{B2A41E5A-B8A1-43E9-A383-6D54A79D8E63}"/>
          </ac:graphicFrameMkLst>
        </pc:graphicFrameChg>
        <pc:graphicFrameChg chg="mod ord">
          <ac:chgData name="Pane, Massimiliano" userId="0d871475-8789-43a6-b055-c83c5fb0378a" providerId="ADAL" clId="{0DF9D204-1205-470E-8FD2-D5AEA57B205E}" dt="2020-10-12T16:52:46.749" v="2671"/>
          <ac:graphicFrameMkLst>
            <pc:docMk/>
            <pc:sldMk cId="138894979" sldId="12113"/>
            <ac:graphicFrameMk id="66562" creationId="{00000000-0000-0000-0000-000000000000}"/>
          </ac:graphicFrameMkLst>
        </pc:graphicFrameChg>
        <pc:cxnChg chg="mod ord">
          <ac:chgData name="Pane, Massimiliano" userId="0d871475-8789-43a6-b055-c83c5fb0378a" providerId="ADAL" clId="{0DF9D204-1205-470E-8FD2-D5AEA57B205E}" dt="2020-10-12T16:52:46.710" v="2653"/>
          <ac:cxnSpMkLst>
            <pc:docMk/>
            <pc:sldMk cId="138894979" sldId="12113"/>
            <ac:cxnSpMk id="2" creationId="{9492ED60-0E93-43F2-8E0F-A68EEE967A23}"/>
          </ac:cxnSpMkLst>
        </pc:cxnChg>
        <pc:cxnChg chg="del mod ord">
          <ac:chgData name="Pane, Massimiliano" userId="0d871475-8789-43a6-b055-c83c5fb0378a" providerId="ADAL" clId="{0DF9D204-1205-470E-8FD2-D5AEA57B205E}" dt="2020-10-12T16:52:37.724" v="2185"/>
          <ac:cxnSpMkLst>
            <pc:docMk/>
            <pc:sldMk cId="138894979" sldId="12113"/>
            <ac:cxnSpMk id="10" creationId="{9DA1C478-AA17-44C1-A266-587C987DFBC8}"/>
          </ac:cxnSpMkLst>
        </pc:cxnChg>
        <pc:cxnChg chg="del mod ord">
          <ac:chgData name="Pane, Massimiliano" userId="0d871475-8789-43a6-b055-c83c5fb0378a" providerId="ADAL" clId="{0DF9D204-1205-470E-8FD2-D5AEA57B205E}" dt="2020-10-12T16:52:37.719" v="2183"/>
          <ac:cxnSpMkLst>
            <pc:docMk/>
            <pc:sldMk cId="138894979" sldId="12113"/>
            <ac:cxnSpMk id="11" creationId="{8D9D1030-9132-48F4-9CB7-3DD6E377FA69}"/>
          </ac:cxnSpMkLst>
        </pc:cxnChg>
        <pc:cxnChg chg="mod ord">
          <ac:chgData name="Pane, Massimiliano" userId="0d871475-8789-43a6-b055-c83c5fb0378a" providerId="ADAL" clId="{0DF9D204-1205-470E-8FD2-D5AEA57B205E}" dt="2020-10-12T16:52:46.717" v="2657"/>
          <ac:cxnSpMkLst>
            <pc:docMk/>
            <pc:sldMk cId="138894979" sldId="12113"/>
            <ac:cxnSpMk id="12" creationId="{9D22F388-7463-4D92-9EDB-126D852B5464}"/>
          </ac:cxnSpMkLst>
        </pc:cxnChg>
        <pc:cxnChg chg="del mod ord">
          <ac:chgData name="Pane, Massimiliano" userId="0d871475-8789-43a6-b055-c83c5fb0378a" providerId="ADAL" clId="{0DF9D204-1205-470E-8FD2-D5AEA57B205E}" dt="2020-10-12T16:52:37.712" v="2179"/>
          <ac:cxnSpMkLst>
            <pc:docMk/>
            <pc:sldMk cId="138894979" sldId="12113"/>
            <ac:cxnSpMk id="13" creationId="{2D4C35BD-97DF-4264-883B-463C05BEE59E}"/>
          </ac:cxnSpMkLst>
        </pc:cxnChg>
        <pc:cxnChg chg="del mod ord">
          <ac:chgData name="Pane, Massimiliano" userId="0d871475-8789-43a6-b055-c83c5fb0378a" providerId="ADAL" clId="{0DF9D204-1205-470E-8FD2-D5AEA57B205E}" dt="2020-10-12T16:52:37.715" v="2181"/>
          <ac:cxnSpMkLst>
            <pc:docMk/>
            <pc:sldMk cId="138894979" sldId="12113"/>
            <ac:cxnSpMk id="14" creationId="{04F8D0B4-97C9-44DE-A1EE-0397F2EDFC6B}"/>
          </ac:cxnSpMkLst>
        </pc:cxnChg>
        <pc:cxnChg chg="del mod ord">
          <ac:chgData name="Pane, Massimiliano" userId="0d871475-8789-43a6-b055-c83c5fb0378a" providerId="ADAL" clId="{0DF9D204-1205-470E-8FD2-D5AEA57B205E}" dt="2020-10-12T16:52:40.274" v="2362"/>
          <ac:cxnSpMkLst>
            <pc:docMk/>
            <pc:sldMk cId="138894979" sldId="12113"/>
            <ac:cxnSpMk id="16" creationId="{3CC34F66-2F0E-42B0-91CF-8A5DD8368C3A}"/>
          </ac:cxnSpMkLst>
        </pc:cxnChg>
        <pc:cxnChg chg="del mod ord">
          <ac:chgData name="Pane, Massimiliano" userId="0d871475-8789-43a6-b055-c83c5fb0378a" providerId="ADAL" clId="{0DF9D204-1205-470E-8FD2-D5AEA57B205E}" dt="2020-10-12T16:52:40.261" v="2356"/>
          <ac:cxnSpMkLst>
            <pc:docMk/>
            <pc:sldMk cId="138894979" sldId="12113"/>
            <ac:cxnSpMk id="17" creationId="{9747054B-3ED1-40A8-A1BD-7C1EF19498CE}"/>
          </ac:cxnSpMkLst>
        </pc:cxnChg>
        <pc:cxnChg chg="del mod ord">
          <ac:chgData name="Pane, Massimiliano" userId="0d871475-8789-43a6-b055-c83c5fb0378a" providerId="ADAL" clId="{0DF9D204-1205-470E-8FD2-D5AEA57B205E}" dt="2020-10-12T16:52:40.269" v="2360"/>
          <ac:cxnSpMkLst>
            <pc:docMk/>
            <pc:sldMk cId="138894979" sldId="12113"/>
            <ac:cxnSpMk id="18" creationId="{8D3B9AC1-2384-4146-A241-CE60C211EDBF}"/>
          </ac:cxnSpMkLst>
        </pc:cxnChg>
        <pc:cxnChg chg="del mod ord">
          <ac:chgData name="Pane, Massimiliano" userId="0d871475-8789-43a6-b055-c83c5fb0378a" providerId="ADAL" clId="{0DF9D204-1205-470E-8FD2-D5AEA57B205E}" dt="2020-10-12T16:52:40.266" v="2358"/>
          <ac:cxnSpMkLst>
            <pc:docMk/>
            <pc:sldMk cId="138894979" sldId="12113"/>
            <ac:cxnSpMk id="19" creationId="{88342A09-835F-402C-9F40-7AB4E743CB93}"/>
          </ac:cxnSpMkLst>
        </pc:cxnChg>
        <pc:cxnChg chg="mod ord">
          <ac:chgData name="Pane, Massimiliano" userId="0d871475-8789-43a6-b055-c83c5fb0378a" providerId="ADAL" clId="{0DF9D204-1205-470E-8FD2-D5AEA57B205E}" dt="2020-10-12T16:52:46.694" v="2644"/>
          <ac:cxnSpMkLst>
            <pc:docMk/>
            <pc:sldMk cId="138894979" sldId="12113"/>
            <ac:cxnSpMk id="21" creationId="{CF71A7F5-2401-495E-83E3-43EDC22F611B}"/>
          </ac:cxnSpMkLst>
        </pc:cxnChg>
        <pc:cxnChg chg="mod ord">
          <ac:chgData name="Pane, Massimiliano" userId="0d871475-8789-43a6-b055-c83c5fb0378a" providerId="ADAL" clId="{0DF9D204-1205-470E-8FD2-D5AEA57B205E}" dt="2020-10-12T16:52:46.661" v="2626"/>
          <ac:cxnSpMkLst>
            <pc:docMk/>
            <pc:sldMk cId="138894979" sldId="12113"/>
            <ac:cxnSpMk id="38" creationId="{37C13C95-B2D8-4BAA-9B2A-FD02CCF66DD1}"/>
          </ac:cxnSpMkLst>
        </pc:cxnChg>
        <pc:cxnChg chg="mod ord">
          <ac:chgData name="Pane, Massimiliano" userId="0d871475-8789-43a6-b055-c83c5fb0378a" providerId="ADAL" clId="{0DF9D204-1205-470E-8FD2-D5AEA57B205E}" dt="2020-10-12T16:52:46.676" v="2634"/>
          <ac:cxnSpMkLst>
            <pc:docMk/>
            <pc:sldMk cId="138894979" sldId="12113"/>
            <ac:cxnSpMk id="39" creationId="{D2D74152-253E-4AEE-8238-D5C2C9A0DAC3}"/>
          </ac:cxnSpMkLst>
        </pc:cxnChg>
        <pc:cxnChg chg="mod ord">
          <ac:chgData name="Pane, Massimiliano" userId="0d871475-8789-43a6-b055-c83c5fb0378a" providerId="ADAL" clId="{0DF9D204-1205-470E-8FD2-D5AEA57B205E}" dt="2020-10-12T16:52:46.673" v="2632"/>
          <ac:cxnSpMkLst>
            <pc:docMk/>
            <pc:sldMk cId="138894979" sldId="12113"/>
            <ac:cxnSpMk id="48" creationId="{523282DC-17A5-460F-9F14-0CF148158BEF}"/>
          </ac:cxnSpMkLst>
        </pc:cxnChg>
        <pc:cxnChg chg="mod ord">
          <ac:chgData name="Pane, Massimiliano" userId="0d871475-8789-43a6-b055-c83c5fb0378a" providerId="ADAL" clId="{0DF9D204-1205-470E-8FD2-D5AEA57B205E}" dt="2020-10-12T16:52:46.691" v="2642"/>
          <ac:cxnSpMkLst>
            <pc:docMk/>
            <pc:sldMk cId="138894979" sldId="12113"/>
            <ac:cxnSpMk id="50" creationId="{A9AF7981-74CA-4C87-BE9A-72FD4DEAF625}"/>
          </ac:cxnSpMkLst>
        </pc:cxnChg>
        <pc:cxnChg chg="mod ord">
          <ac:chgData name="Pane, Massimiliano" userId="0d871475-8789-43a6-b055-c83c5fb0378a" providerId="ADAL" clId="{0DF9D204-1205-470E-8FD2-D5AEA57B205E}" dt="2020-10-12T16:52:46.669" v="2630"/>
          <ac:cxnSpMkLst>
            <pc:docMk/>
            <pc:sldMk cId="138894979" sldId="12113"/>
            <ac:cxnSpMk id="51" creationId="{6B4A7514-FAB8-4A22-B501-B6E0B597357D}"/>
          </ac:cxnSpMkLst>
        </pc:cxnChg>
        <pc:cxnChg chg="mod ord">
          <ac:chgData name="Pane, Massimiliano" userId="0d871475-8789-43a6-b055-c83c5fb0378a" providerId="ADAL" clId="{0DF9D204-1205-470E-8FD2-D5AEA57B205E}" dt="2020-10-12T16:52:46.666" v="2628"/>
          <ac:cxnSpMkLst>
            <pc:docMk/>
            <pc:sldMk cId="138894979" sldId="12113"/>
            <ac:cxnSpMk id="52" creationId="{1D7849D2-3498-4BBD-9DBE-DE285FEF8038}"/>
          </ac:cxnSpMkLst>
        </pc:cxnChg>
        <pc:cxnChg chg="mod ord">
          <ac:chgData name="Pane, Massimiliano" userId="0d871475-8789-43a6-b055-c83c5fb0378a" providerId="ADAL" clId="{0DF9D204-1205-470E-8FD2-D5AEA57B205E}" dt="2020-10-12T16:52:46.683" v="2638"/>
          <ac:cxnSpMkLst>
            <pc:docMk/>
            <pc:sldMk cId="138894979" sldId="12113"/>
            <ac:cxnSpMk id="53" creationId="{582782B3-78C0-458F-9510-95E8CB1DDD82}"/>
          </ac:cxnSpMkLst>
        </pc:cxnChg>
        <pc:cxnChg chg="mod ord">
          <ac:chgData name="Pane, Massimiliano" userId="0d871475-8789-43a6-b055-c83c5fb0378a" providerId="ADAL" clId="{0DF9D204-1205-470E-8FD2-D5AEA57B205E}" dt="2020-10-12T16:52:46.679" v="2636"/>
          <ac:cxnSpMkLst>
            <pc:docMk/>
            <pc:sldMk cId="138894979" sldId="12113"/>
            <ac:cxnSpMk id="54" creationId="{EBE76CC9-B8D3-4AE7-BCFD-65F82491F1AA}"/>
          </ac:cxnSpMkLst>
        </pc:cxnChg>
        <pc:cxnChg chg="mod ord">
          <ac:chgData name="Pane, Massimiliano" userId="0d871475-8789-43a6-b055-c83c5fb0378a" providerId="ADAL" clId="{0DF9D204-1205-470E-8FD2-D5AEA57B205E}" dt="2020-10-12T16:52:46.687" v="2640"/>
          <ac:cxnSpMkLst>
            <pc:docMk/>
            <pc:sldMk cId="138894979" sldId="12113"/>
            <ac:cxnSpMk id="55" creationId="{B7AC1D3A-E921-4B9E-8600-73E0A8244A1A}"/>
          </ac:cxnSpMkLst>
        </pc:cxnChg>
        <pc:cxnChg chg="mod ord">
          <ac:chgData name="Pane, Massimiliano" userId="0d871475-8789-43a6-b055-c83c5fb0378a" providerId="ADAL" clId="{0DF9D204-1205-470E-8FD2-D5AEA57B205E}" dt="2020-10-12T16:52:46.714" v="2655"/>
          <ac:cxnSpMkLst>
            <pc:docMk/>
            <pc:sldMk cId="138894979" sldId="12113"/>
            <ac:cxnSpMk id="63" creationId="{EACB78DA-C77D-4535-8619-EE423B6AFD47}"/>
          </ac:cxnSpMkLst>
        </pc:cxnChg>
      </pc:sldChg>
      <pc:sldChg chg="modSp mod">
        <pc:chgData name="Pane, Massimiliano" userId="0d871475-8789-43a6-b055-c83c5fb0378a" providerId="ADAL" clId="{0DF9D204-1205-470E-8FD2-D5AEA57B205E}" dt="2020-10-12T16:53:58.894" v="2728" actId="20577"/>
        <pc:sldMkLst>
          <pc:docMk/>
          <pc:sldMk cId="282737472" sldId="12114"/>
        </pc:sldMkLst>
        <pc:spChg chg="mod">
          <ac:chgData name="Pane, Massimiliano" userId="0d871475-8789-43a6-b055-c83c5fb0378a" providerId="ADAL" clId="{0DF9D204-1205-470E-8FD2-D5AEA57B205E}" dt="2020-10-12T16:53:58.894" v="2728" actId="20577"/>
          <ac:spMkLst>
            <pc:docMk/>
            <pc:sldMk cId="282737472" sldId="12114"/>
            <ac:spMk id="29" creationId="{00000000-0000-0000-0000-000000000000}"/>
          </ac:spMkLst>
        </pc:spChg>
      </pc:sldChg>
      <pc:sldChg chg="addSp modSp mod">
        <pc:chgData name="Pane, Massimiliano" userId="0d871475-8789-43a6-b055-c83c5fb0378a" providerId="ADAL" clId="{0DF9D204-1205-470E-8FD2-D5AEA57B205E}" dt="2020-10-12T16:32:53.111" v="715" actId="1035"/>
        <pc:sldMkLst>
          <pc:docMk/>
          <pc:sldMk cId="2726412640" sldId="12115"/>
        </pc:sldMkLst>
        <pc:spChg chg="add mod">
          <ac:chgData name="Pane, Massimiliano" userId="0d871475-8789-43a6-b055-c83c5fb0378a" providerId="ADAL" clId="{0DF9D204-1205-470E-8FD2-D5AEA57B205E}" dt="2020-10-12T16:32:53.111" v="715" actId="1035"/>
          <ac:spMkLst>
            <pc:docMk/>
            <pc:sldMk cId="2726412640" sldId="12115"/>
            <ac:spMk id="7" creationId="{80BCE602-8ABC-4239-9A8E-DA924411DA0C}"/>
          </ac:spMkLst>
        </pc:spChg>
      </pc:sldChg>
      <pc:sldChg chg="add">
        <pc:chgData name="Pane, Massimiliano" userId="0d871475-8789-43a6-b055-c83c5fb0378a" providerId="ADAL" clId="{0DF9D204-1205-470E-8FD2-D5AEA57B205E}" dt="2020-10-12T16:27:54.187" v="561"/>
        <pc:sldMkLst>
          <pc:docMk/>
          <pc:sldMk cId="1424858778" sldId="1211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962536023054752E-2"/>
          <c:y val="2.3255813953488372E-2"/>
          <c:w val="0.88847262247838621"/>
          <c:h val="0.95348837209302328"/>
        </c:manualLayout>
      </c:layout>
      <c:lineChart>
        <c:grouping val="standard"/>
        <c:varyColors val="0"/>
        <c:ser>
          <c:idx val="0"/>
          <c:order val="0"/>
          <c:spPr>
            <a:ln w="9525" algn="ctr">
              <a:solidFill>
                <a:srgbClr val="193989"/>
              </a:solidFill>
              <a:prstDash val="solid"/>
            </a:ln>
          </c:spPr>
          <c:marker>
            <c:symbol val="circle"/>
            <c:size val="4"/>
            <c:spPr>
              <a:solidFill>
                <a:srgbClr val="193989"/>
              </a:solidFill>
              <a:ln w="9525" algn="ctr">
                <a:solidFill>
                  <a:srgbClr val="193989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2.3054755043227664E-2"/>
                  <c:y val="-3.916768665850672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7F2-473D-8C22-2762537FA780}"/>
                </c:ext>
              </c:extLst>
            </c:dLbl>
            <c:dLbl>
              <c:idx val="1"/>
              <c:layout>
                <c:manualLayout>
                  <c:x val="0"/>
                  <c:y val="-3.916768665850672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7F2-473D-8C22-2762537FA780}"/>
                </c:ext>
              </c:extLst>
            </c:dLbl>
            <c:dLbl>
              <c:idx val="4"/>
              <c:layout>
                <c:manualLayout>
                  <c:x val="0"/>
                  <c:y val="-3.916768665850672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7F2-473D-8C22-2762537FA780}"/>
                </c:ext>
              </c:extLst>
            </c:dLbl>
            <c:dLbl>
              <c:idx val="6"/>
              <c:layout>
                <c:manualLayout>
                  <c:x val="0"/>
                  <c:y val="-3.916768665850672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7F2-473D-8C22-2762537FA780}"/>
                </c:ext>
              </c:extLst>
            </c:dLbl>
            <c:dLbl>
              <c:idx val="7"/>
              <c:layout>
                <c:manualLayout>
                  <c:x val="0"/>
                  <c:y val="-3.916768665850672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7F2-473D-8C22-2762537FA780}"/>
                </c:ext>
              </c:extLst>
            </c:dLbl>
            <c:dLbl>
              <c:idx val="8"/>
              <c:layout>
                <c:manualLayout>
                  <c:x val="0"/>
                  <c:y val="-3.916768665850672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7F2-473D-8C22-2762537FA7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0</c:v>
                </c:pt>
                <c:pt idx="1">
                  <c:v>1</c:v>
                </c:pt>
                <c:pt idx="2">
                  <c:v>-41</c:v>
                </c:pt>
                <c:pt idx="3">
                  <c:v>-88</c:v>
                </c:pt>
                <c:pt idx="4">
                  <c:v>-86</c:v>
                </c:pt>
                <c:pt idx="5">
                  <c:v>-79</c:v>
                </c:pt>
                <c:pt idx="6">
                  <c:v>-62</c:v>
                </c:pt>
                <c:pt idx="7">
                  <c:v>-51</c:v>
                </c:pt>
                <c:pt idx="8">
                  <c:v>-54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6-A7F2-473D-8C22-2762537FA780}"/>
            </c:ext>
          </c:extLst>
        </c:ser>
        <c:ser>
          <c:idx val="1"/>
          <c:order val="1"/>
          <c:spPr>
            <a:ln w="9525" algn="ctr">
              <a:solidFill>
                <a:srgbClr val="FF960C"/>
              </a:solidFill>
              <a:prstDash val="solid"/>
            </a:ln>
          </c:spPr>
          <c:marker>
            <c:symbol val="square"/>
            <c:size val="4"/>
            <c:spPr>
              <a:solidFill>
                <a:srgbClr val="FF960C"/>
              </a:solidFill>
              <a:ln w="9525" algn="ctr">
                <a:solidFill>
                  <a:srgbClr val="FF960C"/>
                </a:solidFill>
                <a:prstDash val="solid"/>
              </a:ln>
            </c:spPr>
          </c:marker>
          <c:val>
            <c:numRef>
              <c:f>Sheet1!$A$2:$I$2</c:f>
              <c:numCache>
                <c:formatCode>General</c:formatCode>
                <c:ptCount val="9"/>
                <c:pt idx="0">
                  <c:v>-7.8863942328570857</c:v>
                </c:pt>
                <c:pt idx="1">
                  <c:v>-9.8670138565981613</c:v>
                </c:pt>
                <c:pt idx="2">
                  <c:v>-63.971417826250466</c:v>
                </c:pt>
                <c:pt idx="3">
                  <c:v>-90.944313606320748</c:v>
                </c:pt>
                <c:pt idx="4">
                  <c:v>-89.986428492829106</c:v>
                </c:pt>
                <c:pt idx="5">
                  <c:v>-87.470557215679378</c:v>
                </c:pt>
                <c:pt idx="6">
                  <c:v>-73.916672230753818</c:v>
                </c:pt>
                <c:pt idx="7">
                  <c:v>-66.233852932340866</c:v>
                </c:pt>
                <c:pt idx="8">
                  <c:v>-69.15867868723943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7-A7F2-473D-8C22-2762537FA7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931840"/>
        <c:axId val="648878848"/>
      </c:lineChart>
      <c:catAx>
        <c:axId val="184931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648878848"/>
        <c:crossesAt val="0"/>
        <c:auto val="0"/>
        <c:lblAlgn val="ctr"/>
        <c:lblOffset val="100"/>
        <c:noMultiLvlLbl val="0"/>
      </c:catAx>
      <c:valAx>
        <c:axId val="648878848"/>
        <c:scaling>
          <c:orientation val="minMax"/>
          <c:max val="20"/>
          <c:min val="-1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rgbClr val="808080"/>
            </a:solidFill>
            <a:prstDash val="solid"/>
          </a:ln>
        </c:spPr>
        <c:txPr>
          <a:bodyPr wrap="none"/>
          <a:lstStyle/>
          <a:p>
            <a:pPr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it-IT"/>
          </a:p>
        </c:txPr>
        <c:crossAx val="184931840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781487101669194E-2"/>
          <c:y val="8.2541567695961993E-2"/>
          <c:w val="0.96843702579666158"/>
          <c:h val="0.8865795724465558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93989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38F-4746-A76A-89B3AF80CCA8}"/>
              </c:ext>
            </c:extLst>
          </c:dPt>
          <c:dPt>
            <c:idx val="5"/>
            <c:invertIfNegative val="0"/>
            <c:bubble3D val="0"/>
            <c:spPr>
              <a:solidFill>
                <a:srgbClr val="193989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38F-4746-A76A-89B3AF80CCA8}"/>
              </c:ext>
            </c:extLst>
          </c:dPt>
          <c:dLbls>
            <c:dLbl>
              <c:idx val="0"/>
              <c:layout>
                <c:manualLayout>
                  <c:x val="0"/>
                  <c:y val="-0.486342042755344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38F-4746-A76A-89B3AF80CCA8}"/>
                </c:ext>
              </c:extLst>
            </c:dLbl>
            <c:dLbl>
              <c:idx val="5"/>
              <c:layout>
                <c:manualLayout>
                  <c:x val="0"/>
                  <c:y val="-0.214964370546318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38F-4746-A76A-89B3AF80CC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20.07938101333326</c:v>
                </c:pt>
                <c:pt idx="1">
                  <c:v>192.36025366000001</c:v>
                </c:pt>
                <c:pt idx="2">
                  <c:v>168.14855148000001</c:v>
                </c:pt>
                <c:pt idx="3">
                  <c:v>128.87480529000001</c:v>
                </c:pt>
                <c:pt idx="4">
                  <c:v>124.56465679000002</c:v>
                </c:pt>
                <c:pt idx="5">
                  <c:v>124.56465679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38F-4746-A76A-89B3AF80CCA8}"/>
            </c:ext>
          </c:extLst>
        </c:ser>
        <c:ser>
          <c:idx val="1"/>
          <c:order val="1"/>
          <c:spPr>
            <a:solidFill>
              <a:srgbClr val="537BDF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1">
                  <c:v>127.71912735333325</c:v>
                </c:pt>
                <c:pt idx="2">
                  <c:v>24.211702180000003</c:v>
                </c:pt>
                <c:pt idx="3">
                  <c:v>39.273746189999997</c:v>
                </c:pt>
                <c:pt idx="4">
                  <c:v>4.31014849999999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38F-4746-A76A-89B3AF80CC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0607872"/>
        <c:axId val="157456000"/>
      </c:barChart>
      <c:catAx>
        <c:axId val="190607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57456000"/>
        <c:crosses val="min"/>
        <c:auto val="0"/>
        <c:lblAlgn val="ctr"/>
        <c:lblOffset val="100"/>
        <c:noMultiLvlLbl val="0"/>
      </c:catAx>
      <c:valAx>
        <c:axId val="157456000"/>
        <c:scaling>
          <c:orientation val="minMax"/>
          <c:max val="320.079381013333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0607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795140543115766E-2"/>
          <c:y val="2.366412213740458E-2"/>
          <c:w val="0.88613625535969509"/>
          <c:h val="0.90305343511450376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FF960C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7632205812291567E-2"/>
                  <c:y val="-3.244274809160305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C1E-4DFC-BF63-1CBE98A31EEF}"/>
                </c:ext>
              </c:extLst>
            </c:dLbl>
            <c:dLbl>
              <c:idx val="1"/>
              <c:layout>
                <c:manualLayout>
                  <c:x val="0"/>
                  <c:y val="-3.244274809160305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C1E-4DFC-BF63-1CBE98A31EEF}"/>
                </c:ext>
              </c:extLst>
            </c:dLbl>
            <c:dLbl>
              <c:idx val="2"/>
              <c:layout>
                <c:manualLayout>
                  <c:x val="0"/>
                  <c:y val="-3.244274809160305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C1E-4DFC-BF63-1CBE98A31EEF}"/>
                </c:ext>
              </c:extLst>
            </c:dLbl>
            <c:dLbl>
              <c:idx val="3"/>
              <c:layout>
                <c:manualLayout>
                  <c:x val="0"/>
                  <c:y val="-3.244274809160305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C1E-4DFC-BF63-1CBE98A31EEF}"/>
                </c:ext>
              </c:extLst>
            </c:dLbl>
            <c:dLbl>
              <c:idx val="4"/>
              <c:layout>
                <c:manualLayout>
                  <c:x val="0"/>
                  <c:y val="-3.244274809160305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C1E-4DFC-BF63-1CBE98A31EEF}"/>
                </c:ext>
              </c:extLst>
            </c:dLbl>
            <c:dLbl>
              <c:idx val="5"/>
              <c:layout>
                <c:manualLayout>
                  <c:x val="0"/>
                  <c:y val="-3.244274809160305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C1E-4DFC-BF63-1CBE98A31E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F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xVal>
          <c:yVal>
            <c:numRef>
              <c:f>Sheet1!$A$2:$F$2</c:f>
              <c:numCache>
                <c:formatCode>General</c:formatCode>
                <c:ptCount val="6"/>
                <c:pt idx="0">
                  <c:v>33.418700000000001</c:v>
                </c:pt>
                <c:pt idx="1">
                  <c:v>30.750900000000001</c:v>
                </c:pt>
                <c:pt idx="2">
                  <c:v>31</c:v>
                </c:pt>
                <c:pt idx="3">
                  <c:v>32.6</c:v>
                </c:pt>
                <c:pt idx="4">
                  <c:v>34.200000000000003</c:v>
                </c:pt>
                <c:pt idx="5">
                  <c:v>35.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4C1E-4DFC-BF63-1CBE98A31EEF}"/>
            </c:ext>
          </c:extLst>
        </c:ser>
        <c:ser>
          <c:idx val="1"/>
          <c:order val="1"/>
          <c:spPr>
            <a:ln w="28575" algn="ctr">
              <a:solidFill>
                <a:srgbClr val="4C6C9C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7"/>
              <c:spPr>
                <a:solidFill>
                  <a:srgbClr val="4C6C9C"/>
                </a:solidFill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4C1E-4DFC-BF63-1CBE98A31EEF}"/>
              </c:ext>
            </c:extLst>
          </c:dPt>
          <c:dPt>
            <c:idx val="1"/>
            <c:marker>
              <c:symbol val="diamond"/>
              <c:size val="7"/>
              <c:spPr>
                <a:solidFill>
                  <a:srgbClr val="4C6C9C"/>
                </a:solidFill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4C1E-4DFC-BF63-1CBE98A31EEF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4C6C9C"/>
                </a:solidFill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4C1E-4DFC-BF63-1CBE98A31EEF}"/>
              </c:ext>
            </c:extLst>
          </c:dPt>
          <c:dPt>
            <c:idx val="3"/>
            <c:marker>
              <c:symbol val="diamond"/>
              <c:size val="7"/>
              <c:spPr>
                <a:solidFill>
                  <a:srgbClr val="4C6C9C"/>
                </a:solidFill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4C1E-4DFC-BF63-1CBE98A31EEF}"/>
              </c:ext>
            </c:extLst>
          </c:dPt>
          <c:dPt>
            <c:idx val="4"/>
            <c:marker>
              <c:symbol val="diamond"/>
              <c:size val="7"/>
              <c:spPr>
                <a:solidFill>
                  <a:srgbClr val="4C6C9C"/>
                </a:solidFill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4C1E-4DFC-BF63-1CBE98A31EEF}"/>
              </c:ext>
            </c:extLst>
          </c:dPt>
          <c:dPt>
            <c:idx val="5"/>
            <c:marker>
              <c:symbol val="diamond"/>
              <c:size val="7"/>
              <c:spPr>
                <a:solidFill>
                  <a:srgbClr val="4C6C9C"/>
                </a:solidFill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4C1E-4DFC-BF63-1CBE98A31EEF}"/>
              </c:ext>
            </c:extLst>
          </c:dPt>
          <c:xVal>
            <c:numRef>
              <c:f>Sheet1!$A$1:$F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xVal>
          <c:yVal>
            <c:numRef>
              <c:f>Sheet1!$A$3:$F$3</c:f>
              <c:numCache>
                <c:formatCode>General</c:formatCode>
                <c:ptCount val="6"/>
                <c:pt idx="0">
                  <c:v>32.849299999999999</c:v>
                </c:pt>
                <c:pt idx="1">
                  <c:v>30.750900000000001</c:v>
                </c:pt>
                <c:pt idx="2">
                  <c:v>30.5</c:v>
                </c:pt>
                <c:pt idx="3">
                  <c:v>30.1</c:v>
                </c:pt>
                <c:pt idx="4">
                  <c:v>29.9</c:v>
                </c:pt>
                <c:pt idx="5">
                  <c:v>28.9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D-4C1E-4DFC-BF63-1CBE98A31EEF}"/>
            </c:ext>
          </c:extLst>
        </c:ser>
        <c:ser>
          <c:idx val="2"/>
          <c:order val="2"/>
          <c:spPr>
            <a:ln w="28575" algn="ctr">
              <a:solidFill>
                <a:srgbClr val="4C6C9C"/>
              </a:solidFill>
              <a:prstDash val="lgDash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3.282442748091603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C1E-4DFC-BF63-1CBE98A31EEF}"/>
                </c:ext>
              </c:extLst>
            </c:dLbl>
            <c:dLbl>
              <c:idx val="2"/>
              <c:layout>
                <c:manualLayout>
                  <c:x val="0"/>
                  <c:y val="3.282442748091603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C1E-4DFC-BF63-1CBE98A31EEF}"/>
                </c:ext>
              </c:extLst>
            </c:dLbl>
            <c:dLbl>
              <c:idx val="3"/>
              <c:layout>
                <c:manualLayout>
                  <c:x val="0"/>
                  <c:y val="3.282442748091603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C1E-4DFC-BF63-1CBE98A31EEF}"/>
                </c:ext>
              </c:extLst>
            </c:dLbl>
            <c:dLbl>
              <c:idx val="4"/>
              <c:layout>
                <c:manualLayout>
                  <c:x val="0"/>
                  <c:y val="3.282442748091603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C1E-4DFC-BF63-1CBE98A31EEF}"/>
                </c:ext>
              </c:extLst>
            </c:dLbl>
            <c:dLbl>
              <c:idx val="5"/>
              <c:layout>
                <c:manualLayout>
                  <c:x val="0"/>
                  <c:y val="3.2824427480916032E-2"/>
                </c:manualLayout>
              </c:layout>
              <c:tx>
                <c:rich>
                  <a:bodyPr wrap="none"/>
                  <a:lstStyle/>
                  <a:p>
                    <a:pPr>
                      <a:defRPr sz="10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28,0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4C1E-4DFC-BF63-1CBE98A31E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F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xVal>
          <c:yVal>
            <c:numRef>
              <c:f>Sheet1!$A$4:$F$4</c:f>
              <c:numCache>
                <c:formatCode>General</c:formatCode>
                <c:ptCount val="6"/>
                <c:pt idx="0">
                  <c:v>32.849299999999999</c:v>
                </c:pt>
                <c:pt idx="1">
                  <c:v>30.38626482213439</c:v>
                </c:pt>
                <c:pt idx="2">
                  <c:v>29.810425243272618</c:v>
                </c:pt>
                <c:pt idx="3">
                  <c:v>29.244004817733138</c:v>
                </c:pt>
                <c:pt idx="4">
                  <c:v>29.049692493362816</c:v>
                </c:pt>
                <c:pt idx="5">
                  <c:v>28.078130871511217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3-4C1E-4DFC-BF63-1CBE98A31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895296"/>
        <c:axId val="157456576"/>
      </c:scatterChart>
      <c:valAx>
        <c:axId val="79895296"/>
        <c:scaling>
          <c:orientation val="minMax"/>
          <c:max val="2021"/>
          <c:min val="2016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none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b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it-IT"/>
          </a:p>
        </c:txPr>
        <c:crossAx val="157456576"/>
        <c:crosses val="min"/>
        <c:crossBetween val="midCat"/>
        <c:majorUnit val="1"/>
      </c:valAx>
      <c:valAx>
        <c:axId val="157456576"/>
        <c:scaling>
          <c:orientation val="minMax"/>
          <c:max val="45"/>
          <c:min val="2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none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it-IT"/>
          </a:p>
        </c:txPr>
        <c:crossAx val="79895296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91686650679455E-2"/>
          <c:y val="0.10928571428571429"/>
          <c:w val="0.97921662669864107"/>
          <c:h val="0.8535714285714285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82142857142857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86D-4269-8CD8-2C8D3F3EEC7F}"/>
                </c:ext>
              </c:extLst>
            </c:dLbl>
            <c:dLbl>
              <c:idx val="1"/>
              <c:layout>
                <c:manualLayout>
                  <c:x val="0"/>
                  <c:y val="-0.247142857142857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86D-4269-8CD8-2C8D3F3EEC7F}"/>
                </c:ext>
              </c:extLst>
            </c:dLbl>
            <c:dLbl>
              <c:idx val="2"/>
              <c:layout>
                <c:manualLayout>
                  <c:x val="0"/>
                  <c:y val="-0.223571428571428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86D-4269-8CD8-2C8D3F3EEC7F}"/>
                </c:ext>
              </c:extLst>
            </c:dLbl>
            <c:dLbl>
              <c:idx val="3"/>
              <c:layout>
                <c:manualLayout>
                  <c:x val="0"/>
                  <c:y val="-0.272857142857142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86D-4269-8CD8-2C8D3F3EEC7F}"/>
                </c:ext>
              </c:extLst>
            </c:dLbl>
            <c:dLbl>
              <c:idx val="4"/>
              <c:layout>
                <c:manualLayout>
                  <c:x val="0"/>
                  <c:y val="-0.180714285714285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86D-4269-8CD8-2C8D3F3EEC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23</c:v>
                </c:pt>
                <c:pt idx="1">
                  <c:v>190</c:v>
                </c:pt>
                <c:pt idx="2">
                  <c:v>167</c:v>
                </c:pt>
                <c:pt idx="3">
                  <c:v>216</c:v>
                </c:pt>
                <c:pt idx="4">
                  <c:v>1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86D-4269-8CD8-2C8D3F3EEC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1639040"/>
        <c:axId val="208635008"/>
      </c:barChart>
      <c:catAx>
        <c:axId val="1916390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8635008"/>
        <c:crosses val="min"/>
        <c:auto val="0"/>
        <c:lblAlgn val="ctr"/>
        <c:lblOffset val="100"/>
        <c:noMultiLvlLbl val="0"/>
      </c:catAx>
      <c:valAx>
        <c:axId val="208635008"/>
        <c:scaling>
          <c:orientation val="minMax"/>
          <c:max val="4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16390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2.emf"/></Relationships>
</file>

<file path=ppt/drawings/_rels/vmlDrawing29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2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2.emf"/></Relationships>
</file>

<file path=ppt/drawings/_rels/vmlDrawing7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2.emf"/></Relationships>
</file>

<file path=ppt/drawings/_rels/vmlDrawing7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5659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6" y="3"/>
            <a:ext cx="2945659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0/12/2020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8587"/>
            <a:ext cx="2945659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6" y="9428587"/>
            <a:ext cx="2945659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N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740502"/>
            <a:ext cx="6796102" cy="51861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0620" y="3"/>
            <a:ext cx="2865041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0063" y="617538"/>
            <a:ext cx="5780087" cy="400208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0620" y="9397875"/>
            <a:ext cx="2865041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397875"/>
            <a:ext cx="2855929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3828" y="5067159"/>
            <a:ext cx="6272792" cy="4050744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850670" y="0"/>
            <a:ext cx="2945453" cy="4982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10/12/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 xmlns="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80936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6E1EB-DD7C-4A1D-976F-82DD11A1C584}" type="slidenum">
              <a:rPr lang="it-IT" smtClean="0">
                <a:solidFill>
                  <a:prstClr val="black"/>
                </a:solidFill>
              </a:rPr>
              <a:pPr/>
              <a:t>5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468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6E1EB-DD7C-4A1D-976F-82DD11A1C584}" type="slidenum">
              <a:rPr lang="it-IT" smtClean="0">
                <a:solidFill>
                  <a:prstClr val="black"/>
                </a:solidFill>
              </a:rPr>
              <a:pPr/>
              <a:t>6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346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265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98954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843A49-CD56-4BE7-A258-FE69D8EDE2BB}" type="slidenum">
              <a:rPr lang="de-DE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17</a:t>
            </a:fld>
            <a:endParaRPr lang="de-DE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18972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843A49-CD56-4BE7-A258-FE69D8EDE2BB}" type="slidenum">
              <a:rPr lang="de-DE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18</a:t>
            </a:fld>
            <a:endParaRPr lang="de-DE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81392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10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8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7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image" Target="../media/image8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7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8.png"/><Relationship Id="rId2" Type="http://schemas.openxmlformats.org/officeDocument/2006/relationships/tags" Target="../tags/tag176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9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1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2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3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3.jp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5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4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4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4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6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6.png"/><Relationship Id="rId2" Type="http://schemas.openxmlformats.org/officeDocument/2006/relationships/tags" Target="../tags/tag204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6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7" Type="http://schemas.openxmlformats.org/officeDocument/2006/relationships/image" Target="../media/image6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6.png"/><Relationship Id="rId2" Type="http://schemas.openxmlformats.org/officeDocument/2006/relationships/tags" Target="../tags/tag210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7" Type="http://schemas.openxmlformats.org/officeDocument/2006/relationships/image" Target="../media/image6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7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8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7" Type="http://schemas.openxmlformats.org/officeDocument/2006/relationships/image" Target="../media/image10.png"/><Relationship Id="rId2" Type="http://schemas.openxmlformats.org/officeDocument/2006/relationships/tags" Target="../tags/tag218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7" Type="http://schemas.openxmlformats.org/officeDocument/2006/relationships/image" Target="../media/image8.png"/><Relationship Id="rId2" Type="http://schemas.openxmlformats.org/officeDocument/2006/relationships/tags" Target="../tags/tag220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7.png"/><Relationship Id="rId2" Type="http://schemas.openxmlformats.org/officeDocument/2006/relationships/tags" Target="../tags/tag222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7" Type="http://schemas.openxmlformats.org/officeDocument/2006/relationships/image" Target="../media/image8.png"/><Relationship Id="rId2" Type="http://schemas.openxmlformats.org/officeDocument/2006/relationships/tags" Target="../tags/tag224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7" Type="http://schemas.openxmlformats.org/officeDocument/2006/relationships/image" Target="../media/image7.png"/><Relationship Id="rId2" Type="http://schemas.openxmlformats.org/officeDocument/2006/relationships/tags" Target="../tags/tag226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8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0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1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2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3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3.jp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5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57.xml"/><Relationship Id="rId7" Type="http://schemas.openxmlformats.org/officeDocument/2006/relationships/image" Target="../media/image2.emf"/><Relationship Id="rId2" Type="http://schemas.openxmlformats.org/officeDocument/2006/relationships/tags" Target="../tags/tag256.xml"/><Relationship Id="rId1" Type="http://schemas.openxmlformats.org/officeDocument/2006/relationships/vmlDrawing" Target="../drawings/vmlDrawing152.vml"/><Relationship Id="rId6" Type="http://schemas.openxmlformats.org/officeDocument/2006/relationships/oleObject" Target="../embeddings/oleObject156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4.png"/><Relationship Id="rId2" Type="http://schemas.openxmlformats.org/officeDocument/2006/relationships/tags" Target="../tags/tag258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7" Type="http://schemas.openxmlformats.org/officeDocument/2006/relationships/image" Target="../media/image4.png"/><Relationship Id="rId2" Type="http://schemas.openxmlformats.org/officeDocument/2006/relationships/tags" Target="../tags/tag260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7" Type="http://schemas.openxmlformats.org/officeDocument/2006/relationships/image" Target="../media/image6.png"/><Relationship Id="rId2" Type="http://schemas.openxmlformats.org/officeDocument/2006/relationships/tags" Target="../tags/tag26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6.png"/><Relationship Id="rId2" Type="http://schemas.openxmlformats.org/officeDocument/2006/relationships/tags" Target="../tags/tag270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image" Target="../media/image6.png"/><Relationship Id="rId2" Type="http://schemas.openxmlformats.org/officeDocument/2006/relationships/tags" Target="../tags/tag272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7" Type="http://schemas.openxmlformats.org/officeDocument/2006/relationships/image" Target="../media/image6.png"/><Relationship Id="rId2" Type="http://schemas.openxmlformats.org/officeDocument/2006/relationships/tags" Target="../tags/tag274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5.bin"/><Relationship Id="rId4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7" Type="http://schemas.openxmlformats.org/officeDocument/2006/relationships/image" Target="../media/image6.png"/><Relationship Id="rId2" Type="http://schemas.openxmlformats.org/officeDocument/2006/relationships/tags" Target="../tags/tag276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7" Type="http://schemas.openxmlformats.org/officeDocument/2006/relationships/image" Target="../media/image7.png"/><Relationship Id="rId2" Type="http://schemas.openxmlformats.org/officeDocument/2006/relationships/tags" Target="../tags/tag278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7" Type="http://schemas.openxmlformats.org/officeDocument/2006/relationships/image" Target="../media/image8.png"/><Relationship Id="rId2" Type="http://schemas.openxmlformats.org/officeDocument/2006/relationships/tags" Target="../tags/tag280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7" Type="http://schemas.openxmlformats.org/officeDocument/2006/relationships/image" Target="../media/image10.png"/><Relationship Id="rId2" Type="http://schemas.openxmlformats.org/officeDocument/2006/relationships/tags" Target="../tags/tag282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7" Type="http://schemas.openxmlformats.org/officeDocument/2006/relationships/image" Target="../media/image8.png"/><Relationship Id="rId2" Type="http://schemas.openxmlformats.org/officeDocument/2006/relationships/tags" Target="../tags/tag284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0.bin"/><Relationship Id="rId4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7" Type="http://schemas.openxmlformats.org/officeDocument/2006/relationships/image" Target="../media/image7.png"/><Relationship Id="rId2" Type="http://schemas.openxmlformats.org/officeDocument/2006/relationships/tags" Target="../tags/tag286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1.bin"/><Relationship Id="rId4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289.xml"/><Relationship Id="rId7" Type="http://schemas.openxmlformats.org/officeDocument/2006/relationships/image" Target="../media/image8.png"/><Relationship Id="rId2" Type="http://schemas.openxmlformats.org/officeDocument/2006/relationships/tags" Target="../tags/tag28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7" Type="http://schemas.openxmlformats.org/officeDocument/2006/relationships/image" Target="../media/image7.png"/><Relationship Id="rId2" Type="http://schemas.openxmlformats.org/officeDocument/2006/relationships/tags" Target="../tags/tag290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3.bin"/><Relationship Id="rId4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7" Type="http://schemas.openxmlformats.org/officeDocument/2006/relationships/image" Target="../media/image8.png"/><Relationship Id="rId2" Type="http://schemas.openxmlformats.org/officeDocument/2006/relationships/tags" Target="../tags/tag292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4.bin"/><Relationship Id="rId4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5.bin"/><Relationship Id="rId4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6.bin"/><Relationship Id="rId4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7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8.bin"/><Relationship Id="rId4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1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9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0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17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304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3.jp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7" Type="http://schemas.openxmlformats.org/officeDocument/2006/relationships/image" Target="../media/image4.png"/><Relationship Id="rId2" Type="http://schemas.openxmlformats.org/officeDocument/2006/relationships/tags" Target="../tags/tag306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7" Type="http://schemas.openxmlformats.org/officeDocument/2006/relationships/image" Target="../media/image4.png"/><Relationship Id="rId2" Type="http://schemas.openxmlformats.org/officeDocument/2006/relationships/tags" Target="../tags/tag308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5.bin"/><Relationship Id="rId4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311.xml"/><Relationship Id="rId7" Type="http://schemas.openxmlformats.org/officeDocument/2006/relationships/image" Target="../media/image4.png"/><Relationship Id="rId2" Type="http://schemas.openxmlformats.org/officeDocument/2006/relationships/tags" Target="../tags/tag310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6.bin"/><Relationship Id="rId4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313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7.bin"/><Relationship Id="rId4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317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319.xml"/><Relationship Id="rId7" Type="http://schemas.openxmlformats.org/officeDocument/2006/relationships/image" Target="../media/image6.png"/><Relationship Id="rId2" Type="http://schemas.openxmlformats.org/officeDocument/2006/relationships/tags" Target="../tags/tag318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7" Type="http://schemas.openxmlformats.org/officeDocument/2006/relationships/image" Target="../media/image6.png"/><Relationship Id="rId2" Type="http://schemas.openxmlformats.org/officeDocument/2006/relationships/tags" Target="../tags/tag320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7" Type="http://schemas.openxmlformats.org/officeDocument/2006/relationships/image" Target="../media/image6.png"/><Relationship Id="rId2" Type="http://schemas.openxmlformats.org/officeDocument/2006/relationships/tags" Target="../tags/tag322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7" Type="http://schemas.openxmlformats.org/officeDocument/2006/relationships/image" Target="../media/image6.png"/><Relationship Id="rId2" Type="http://schemas.openxmlformats.org/officeDocument/2006/relationships/tags" Target="../tags/tag324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7" Type="http://schemas.openxmlformats.org/officeDocument/2006/relationships/image" Target="../media/image6.png"/><Relationship Id="rId2" Type="http://schemas.openxmlformats.org/officeDocument/2006/relationships/tags" Target="../tags/tag326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7" Type="http://schemas.openxmlformats.org/officeDocument/2006/relationships/image" Target="../media/image6.png"/><Relationship Id="rId2" Type="http://schemas.openxmlformats.org/officeDocument/2006/relationships/tags" Target="../tags/tag328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7" Type="http://schemas.openxmlformats.org/officeDocument/2006/relationships/image" Target="../media/image7.png"/><Relationship Id="rId2" Type="http://schemas.openxmlformats.org/officeDocument/2006/relationships/tags" Target="../tags/tag330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7" Type="http://schemas.openxmlformats.org/officeDocument/2006/relationships/image" Target="../media/image8.png"/><Relationship Id="rId2" Type="http://schemas.openxmlformats.org/officeDocument/2006/relationships/tags" Target="../tags/tag332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7.bin"/><Relationship Id="rId4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335.xml"/><Relationship Id="rId7" Type="http://schemas.openxmlformats.org/officeDocument/2006/relationships/image" Target="../media/image10.png"/><Relationship Id="rId2" Type="http://schemas.openxmlformats.org/officeDocument/2006/relationships/tags" Target="../tags/tag334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8.bin"/><Relationship Id="rId4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7" Type="http://schemas.openxmlformats.org/officeDocument/2006/relationships/image" Target="../media/image8.png"/><Relationship Id="rId2" Type="http://schemas.openxmlformats.org/officeDocument/2006/relationships/tags" Target="../tags/tag336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7" Type="http://schemas.openxmlformats.org/officeDocument/2006/relationships/image" Target="../media/image7.png"/><Relationship Id="rId2" Type="http://schemas.openxmlformats.org/officeDocument/2006/relationships/tags" Target="../tags/tag338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7" Type="http://schemas.openxmlformats.org/officeDocument/2006/relationships/image" Target="../media/image8.png"/><Relationship Id="rId2" Type="http://schemas.openxmlformats.org/officeDocument/2006/relationships/tags" Target="../tags/tag340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1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7" Type="http://schemas.openxmlformats.org/officeDocument/2006/relationships/image" Target="../media/image7.png"/><Relationship Id="rId2" Type="http://schemas.openxmlformats.org/officeDocument/2006/relationships/tags" Target="../tags/tag342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2.bin"/><Relationship Id="rId4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7" Type="http://schemas.openxmlformats.org/officeDocument/2006/relationships/image" Target="../media/image8.png"/><Relationship Id="rId2" Type="http://schemas.openxmlformats.org/officeDocument/2006/relationships/tags" Target="../tags/tag344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3.bin"/><Relationship Id="rId4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349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5.bin"/><Relationship Id="rId4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0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6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352.xml"/><Relationship Id="rId2" Type="http://schemas.openxmlformats.org/officeDocument/2006/relationships/tags" Target="../tags/tag351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7.bin"/><Relationship Id="rId4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8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4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9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0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20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357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2.bin"/><Relationship Id="rId4" Type="http://schemas.openxmlformats.org/officeDocument/2006/relationships/image" Target="../media/image3.jp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20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3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4.bin"/><Relationship Id="rId4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2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2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36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8.bin"/><Relationship Id="rId4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2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9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2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0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2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2.bin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3.xml"/><Relationship Id="rId7" Type="http://schemas.openxmlformats.org/officeDocument/2006/relationships/image" Target="../media/image2.emf"/><Relationship Id="rId2" Type="http://schemas.openxmlformats.org/officeDocument/2006/relationships/tags" Target="../tags/tag372.xml"/><Relationship Id="rId1" Type="http://schemas.openxmlformats.org/officeDocument/2006/relationships/vmlDrawing" Target="../drawings/vmlDrawing220.vml"/><Relationship Id="rId6" Type="http://schemas.openxmlformats.org/officeDocument/2006/relationships/oleObject" Target="../embeddings/oleObject224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7" Type="http://schemas.openxmlformats.org/officeDocument/2006/relationships/image" Target="../media/image4.png"/><Relationship Id="rId2" Type="http://schemas.openxmlformats.org/officeDocument/2006/relationships/tags" Target="../tags/tag374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5.bin"/><Relationship Id="rId4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377.xml"/><Relationship Id="rId7" Type="http://schemas.openxmlformats.org/officeDocument/2006/relationships/image" Target="../media/image4.png"/><Relationship Id="rId2" Type="http://schemas.openxmlformats.org/officeDocument/2006/relationships/tags" Target="../tags/tag376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6.bin"/><Relationship Id="rId4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7.bin"/><Relationship Id="rId4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2" Type="http://schemas.openxmlformats.org/officeDocument/2006/relationships/tags" Target="../tags/tag380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8.bin"/><Relationship Id="rId4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383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9.bin"/><Relationship Id="rId4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7" Type="http://schemas.openxmlformats.org/officeDocument/2006/relationships/image" Target="../media/image6.png"/><Relationship Id="rId2" Type="http://schemas.openxmlformats.org/officeDocument/2006/relationships/tags" Target="../tags/tag384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0.bin"/><Relationship Id="rId4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7" Type="http://schemas.openxmlformats.org/officeDocument/2006/relationships/image" Target="../media/image6.png"/><Relationship Id="rId2" Type="http://schemas.openxmlformats.org/officeDocument/2006/relationships/tags" Target="../tags/tag386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1.bin"/><Relationship Id="rId4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389.xml"/><Relationship Id="rId7" Type="http://schemas.openxmlformats.org/officeDocument/2006/relationships/image" Target="../media/image6.png"/><Relationship Id="rId2" Type="http://schemas.openxmlformats.org/officeDocument/2006/relationships/tags" Target="../tags/tag388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2.bin"/><Relationship Id="rId4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7" Type="http://schemas.openxmlformats.org/officeDocument/2006/relationships/image" Target="../media/image6.png"/><Relationship Id="rId2" Type="http://schemas.openxmlformats.org/officeDocument/2006/relationships/tags" Target="../tags/tag390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393.xml"/><Relationship Id="rId7" Type="http://schemas.openxmlformats.org/officeDocument/2006/relationships/image" Target="../media/image6.png"/><Relationship Id="rId2" Type="http://schemas.openxmlformats.org/officeDocument/2006/relationships/tags" Target="../tags/tag392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4.bin"/><Relationship Id="rId4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395.xml"/><Relationship Id="rId7" Type="http://schemas.openxmlformats.org/officeDocument/2006/relationships/image" Target="../media/image7.png"/><Relationship Id="rId2" Type="http://schemas.openxmlformats.org/officeDocument/2006/relationships/tags" Target="../tags/tag394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5.bin"/><Relationship Id="rId4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7" Type="http://schemas.openxmlformats.org/officeDocument/2006/relationships/image" Target="../media/image8.png"/><Relationship Id="rId2" Type="http://schemas.openxmlformats.org/officeDocument/2006/relationships/tags" Target="../tags/tag396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6.bin"/><Relationship Id="rId4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7" Type="http://schemas.openxmlformats.org/officeDocument/2006/relationships/image" Target="../media/image10.png"/><Relationship Id="rId2" Type="http://schemas.openxmlformats.org/officeDocument/2006/relationships/tags" Target="../tags/tag398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7.bin"/><Relationship Id="rId4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401.xml"/><Relationship Id="rId7" Type="http://schemas.openxmlformats.org/officeDocument/2006/relationships/image" Target="../media/image8.png"/><Relationship Id="rId2" Type="http://schemas.openxmlformats.org/officeDocument/2006/relationships/tags" Target="../tags/tag400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8.bin"/><Relationship Id="rId4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403.xml"/><Relationship Id="rId7" Type="http://schemas.openxmlformats.org/officeDocument/2006/relationships/image" Target="../media/image7.png"/><Relationship Id="rId2" Type="http://schemas.openxmlformats.org/officeDocument/2006/relationships/tags" Target="../tags/tag402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9.bin"/><Relationship Id="rId4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405.xml"/><Relationship Id="rId7" Type="http://schemas.openxmlformats.org/officeDocument/2006/relationships/image" Target="../media/image8.png"/><Relationship Id="rId2" Type="http://schemas.openxmlformats.org/officeDocument/2006/relationships/tags" Target="../tags/tag404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0.bin"/><Relationship Id="rId4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7" Type="http://schemas.openxmlformats.org/officeDocument/2006/relationships/image" Target="../media/image7.png"/><Relationship Id="rId2" Type="http://schemas.openxmlformats.org/officeDocument/2006/relationships/tags" Target="../tags/tag406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1.bin"/><Relationship Id="rId4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409.xml"/><Relationship Id="rId7" Type="http://schemas.openxmlformats.org/officeDocument/2006/relationships/image" Target="../media/image8.png"/><Relationship Id="rId2" Type="http://schemas.openxmlformats.org/officeDocument/2006/relationships/tags" Target="../tags/tag408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2.bin"/><Relationship Id="rId4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411.xml"/><Relationship Id="rId2" Type="http://schemas.openxmlformats.org/officeDocument/2006/relationships/tags" Target="../tags/tag410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3.bin"/><Relationship Id="rId4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413.xml"/><Relationship Id="rId2" Type="http://schemas.openxmlformats.org/officeDocument/2006/relationships/tags" Target="../tags/tag412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4.bin"/><Relationship Id="rId4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4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5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416.xml"/><Relationship Id="rId2" Type="http://schemas.openxmlformats.org/officeDocument/2006/relationships/tags" Target="../tags/tag415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6.bin"/><Relationship Id="rId4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7.xml"/><Relationship Id="rId1" Type="http://schemas.openxmlformats.org/officeDocument/2006/relationships/vmlDrawing" Target="../drawings/vmlDrawing2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7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8.xml"/><Relationship Id="rId1" Type="http://schemas.openxmlformats.org/officeDocument/2006/relationships/vmlDrawing" Target="../drawings/vmlDrawing24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8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9.xml"/><Relationship Id="rId1" Type="http://schemas.openxmlformats.org/officeDocument/2006/relationships/vmlDrawing" Target="../drawings/vmlDrawing24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9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420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0.bin"/><Relationship Id="rId4" Type="http://schemas.openxmlformats.org/officeDocument/2006/relationships/image" Target="../media/image3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24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1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423.xml"/><Relationship Id="rId7" Type="http://schemas.openxmlformats.org/officeDocument/2006/relationships/image" Target="../media/image4.png"/><Relationship Id="rId2" Type="http://schemas.openxmlformats.org/officeDocument/2006/relationships/tags" Target="../tags/tag422.xml"/><Relationship Id="rId1" Type="http://schemas.openxmlformats.org/officeDocument/2006/relationships/vmlDrawing" Target="../drawings/vmlDrawing2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2.bin"/><Relationship Id="rId4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425.xml"/><Relationship Id="rId7" Type="http://schemas.openxmlformats.org/officeDocument/2006/relationships/image" Target="../media/image4.png"/><Relationship Id="rId2" Type="http://schemas.openxmlformats.org/officeDocument/2006/relationships/tags" Target="../tags/tag424.xml"/><Relationship Id="rId1" Type="http://schemas.openxmlformats.org/officeDocument/2006/relationships/vmlDrawing" Target="../drawings/vmlDrawing2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3.bin"/><Relationship Id="rId4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7" Type="http://schemas.openxmlformats.org/officeDocument/2006/relationships/image" Target="../media/image4.png"/><Relationship Id="rId2" Type="http://schemas.openxmlformats.org/officeDocument/2006/relationships/tags" Target="../tags/tag426.xml"/><Relationship Id="rId1" Type="http://schemas.openxmlformats.org/officeDocument/2006/relationships/vmlDrawing" Target="../drawings/vmlDrawing2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4.bin"/><Relationship Id="rId4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2" Type="http://schemas.openxmlformats.org/officeDocument/2006/relationships/tags" Target="../tags/tag428.xml"/><Relationship Id="rId1" Type="http://schemas.openxmlformats.org/officeDocument/2006/relationships/vmlDrawing" Target="../drawings/vmlDrawing2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5.bin"/><Relationship Id="rId4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431.xml"/><Relationship Id="rId2" Type="http://schemas.openxmlformats.org/officeDocument/2006/relationships/tags" Target="../tags/tag430.xml"/><Relationship Id="rId1" Type="http://schemas.openxmlformats.org/officeDocument/2006/relationships/vmlDrawing" Target="../drawings/vmlDrawing2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6.bin"/><Relationship Id="rId4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433.xml"/><Relationship Id="rId2" Type="http://schemas.openxmlformats.org/officeDocument/2006/relationships/tags" Target="../tags/tag432.xml"/><Relationship Id="rId1" Type="http://schemas.openxmlformats.org/officeDocument/2006/relationships/vmlDrawing" Target="../drawings/vmlDrawing2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7.bin"/><Relationship Id="rId4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7" Type="http://schemas.openxmlformats.org/officeDocument/2006/relationships/image" Target="../media/image6.png"/><Relationship Id="rId2" Type="http://schemas.openxmlformats.org/officeDocument/2006/relationships/tags" Target="../tags/tag434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8.bin"/><Relationship Id="rId4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tags" Target="../tags/tag437.xml"/><Relationship Id="rId7" Type="http://schemas.openxmlformats.org/officeDocument/2006/relationships/image" Target="../media/image6.png"/><Relationship Id="rId2" Type="http://schemas.openxmlformats.org/officeDocument/2006/relationships/tags" Target="../tags/tag436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9.bin"/><Relationship Id="rId4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439.xml"/><Relationship Id="rId7" Type="http://schemas.openxmlformats.org/officeDocument/2006/relationships/image" Target="../media/image6.png"/><Relationship Id="rId2" Type="http://schemas.openxmlformats.org/officeDocument/2006/relationships/tags" Target="../tags/tag438.xml"/><Relationship Id="rId1" Type="http://schemas.openxmlformats.org/officeDocument/2006/relationships/vmlDrawing" Target="../drawings/vmlDrawing25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0.bin"/><Relationship Id="rId4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7" Type="http://schemas.openxmlformats.org/officeDocument/2006/relationships/image" Target="../media/image6.png"/><Relationship Id="rId2" Type="http://schemas.openxmlformats.org/officeDocument/2006/relationships/tags" Target="../tags/tag440.xml"/><Relationship Id="rId1" Type="http://schemas.openxmlformats.org/officeDocument/2006/relationships/vmlDrawing" Target="../drawings/vmlDrawing2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1.bin"/><Relationship Id="rId4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443.xml"/><Relationship Id="rId7" Type="http://schemas.openxmlformats.org/officeDocument/2006/relationships/image" Target="../media/image6.png"/><Relationship Id="rId2" Type="http://schemas.openxmlformats.org/officeDocument/2006/relationships/tags" Target="../tags/tag442.xml"/><Relationship Id="rId1" Type="http://schemas.openxmlformats.org/officeDocument/2006/relationships/vmlDrawing" Target="../drawings/vmlDrawing2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2.bin"/><Relationship Id="rId4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7" Type="http://schemas.openxmlformats.org/officeDocument/2006/relationships/image" Target="../media/image6.png"/><Relationship Id="rId2" Type="http://schemas.openxmlformats.org/officeDocument/2006/relationships/tags" Target="../tags/tag444.xml"/><Relationship Id="rId1" Type="http://schemas.openxmlformats.org/officeDocument/2006/relationships/vmlDrawing" Target="../drawings/vmlDrawing25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3.bin"/><Relationship Id="rId4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447.xml"/><Relationship Id="rId7" Type="http://schemas.openxmlformats.org/officeDocument/2006/relationships/image" Target="../media/image7.png"/><Relationship Id="rId2" Type="http://schemas.openxmlformats.org/officeDocument/2006/relationships/tags" Target="../tags/tag446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4.bin"/><Relationship Id="rId4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449.xml"/><Relationship Id="rId7" Type="http://schemas.openxmlformats.org/officeDocument/2006/relationships/image" Target="../media/image8.png"/><Relationship Id="rId2" Type="http://schemas.openxmlformats.org/officeDocument/2006/relationships/tags" Target="../tags/tag448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5.bin"/><Relationship Id="rId4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7" Type="http://schemas.openxmlformats.org/officeDocument/2006/relationships/image" Target="../media/image10.png"/><Relationship Id="rId2" Type="http://schemas.openxmlformats.org/officeDocument/2006/relationships/tags" Target="../tags/tag450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6.bin"/><Relationship Id="rId4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tags" Target="../tags/tag453.xml"/><Relationship Id="rId7" Type="http://schemas.openxmlformats.org/officeDocument/2006/relationships/image" Target="../media/image8.png"/><Relationship Id="rId2" Type="http://schemas.openxmlformats.org/officeDocument/2006/relationships/tags" Target="../tags/tag452.xml"/><Relationship Id="rId1" Type="http://schemas.openxmlformats.org/officeDocument/2006/relationships/vmlDrawing" Target="../drawings/vmlDrawing26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7.bin"/><Relationship Id="rId4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455.xml"/><Relationship Id="rId7" Type="http://schemas.openxmlformats.org/officeDocument/2006/relationships/image" Target="../media/image7.png"/><Relationship Id="rId2" Type="http://schemas.openxmlformats.org/officeDocument/2006/relationships/tags" Target="../tags/tag454.xml"/><Relationship Id="rId1" Type="http://schemas.openxmlformats.org/officeDocument/2006/relationships/vmlDrawing" Target="../drawings/vmlDrawing26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8.bin"/><Relationship Id="rId4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7" Type="http://schemas.openxmlformats.org/officeDocument/2006/relationships/image" Target="../media/image8.png"/><Relationship Id="rId2" Type="http://schemas.openxmlformats.org/officeDocument/2006/relationships/tags" Target="../tags/tag456.xml"/><Relationship Id="rId1" Type="http://schemas.openxmlformats.org/officeDocument/2006/relationships/vmlDrawing" Target="../drawings/vmlDrawing26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459.xml"/><Relationship Id="rId7" Type="http://schemas.openxmlformats.org/officeDocument/2006/relationships/image" Target="../media/image7.png"/><Relationship Id="rId2" Type="http://schemas.openxmlformats.org/officeDocument/2006/relationships/tags" Target="../tags/tag458.xml"/><Relationship Id="rId1" Type="http://schemas.openxmlformats.org/officeDocument/2006/relationships/vmlDrawing" Target="../drawings/vmlDrawing26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0.bin"/><Relationship Id="rId4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3.jpg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tags" Target="../tags/tag461.xml"/><Relationship Id="rId7" Type="http://schemas.openxmlformats.org/officeDocument/2006/relationships/image" Target="../media/image8.png"/><Relationship Id="rId2" Type="http://schemas.openxmlformats.org/officeDocument/2006/relationships/tags" Target="../tags/tag460.xml"/><Relationship Id="rId1" Type="http://schemas.openxmlformats.org/officeDocument/2006/relationships/vmlDrawing" Target="../drawings/vmlDrawing26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1.bin"/><Relationship Id="rId4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463.xml"/><Relationship Id="rId2" Type="http://schemas.openxmlformats.org/officeDocument/2006/relationships/tags" Target="../tags/tag462.xml"/><Relationship Id="rId1" Type="http://schemas.openxmlformats.org/officeDocument/2006/relationships/vmlDrawing" Target="../drawings/vmlDrawing26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2.bin"/><Relationship Id="rId4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465.xml"/><Relationship Id="rId2" Type="http://schemas.openxmlformats.org/officeDocument/2006/relationships/tags" Target="../tags/tag464.xml"/><Relationship Id="rId1" Type="http://schemas.openxmlformats.org/officeDocument/2006/relationships/vmlDrawing" Target="../drawings/vmlDrawing26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3.bin"/><Relationship Id="rId4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6.xml"/><Relationship Id="rId1" Type="http://schemas.openxmlformats.org/officeDocument/2006/relationships/vmlDrawing" Target="../drawings/vmlDrawing270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4.bin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tags" Target="../tags/tag468.xml"/><Relationship Id="rId2" Type="http://schemas.openxmlformats.org/officeDocument/2006/relationships/tags" Target="../tags/tag467.xml"/><Relationship Id="rId1" Type="http://schemas.openxmlformats.org/officeDocument/2006/relationships/vmlDrawing" Target="../drawings/vmlDrawing27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5.bin"/><Relationship Id="rId4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9.xml"/><Relationship Id="rId1" Type="http://schemas.openxmlformats.org/officeDocument/2006/relationships/vmlDrawing" Target="../drawings/vmlDrawing272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6.bin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0.xml"/><Relationship Id="rId1" Type="http://schemas.openxmlformats.org/officeDocument/2006/relationships/vmlDrawing" Target="../drawings/vmlDrawing2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7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1.xml"/><Relationship Id="rId1" Type="http://schemas.openxmlformats.org/officeDocument/2006/relationships/vmlDrawing" Target="../drawings/vmlDrawing2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8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2.xml"/><Relationship Id="rId1" Type="http://schemas.openxmlformats.org/officeDocument/2006/relationships/vmlDrawing" Target="../drawings/vmlDrawing2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9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473.xml"/><Relationship Id="rId1" Type="http://schemas.openxmlformats.org/officeDocument/2006/relationships/vmlDrawing" Target="../drawings/vmlDrawing27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0.bin"/><Relationship Id="rId4" Type="http://schemas.openxmlformats.org/officeDocument/2006/relationships/image" Target="../media/image3.jp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4.xml"/><Relationship Id="rId1" Type="http://schemas.openxmlformats.org/officeDocument/2006/relationships/vmlDrawing" Target="../drawings/vmlDrawing27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1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476.xml"/><Relationship Id="rId2" Type="http://schemas.openxmlformats.org/officeDocument/2006/relationships/tags" Target="../tags/tag475.xml"/><Relationship Id="rId1" Type="http://schemas.openxmlformats.org/officeDocument/2006/relationships/vmlDrawing" Target="../drawings/vmlDrawing2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2.bin"/><Relationship Id="rId4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7.xml"/><Relationship Id="rId1" Type="http://schemas.openxmlformats.org/officeDocument/2006/relationships/vmlDrawing" Target="../drawings/vmlDrawing2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3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8.xml"/><Relationship Id="rId1" Type="http://schemas.openxmlformats.org/officeDocument/2006/relationships/vmlDrawing" Target="../drawings/vmlDrawing2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4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9.xml"/><Relationship Id="rId1" Type="http://schemas.openxmlformats.org/officeDocument/2006/relationships/vmlDrawing" Target="../drawings/vmlDrawing28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5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tags" Target="../tags/tag481.xml"/><Relationship Id="rId2" Type="http://schemas.openxmlformats.org/officeDocument/2006/relationships/tags" Target="../tags/tag480.xml"/><Relationship Id="rId1" Type="http://schemas.openxmlformats.org/officeDocument/2006/relationships/vmlDrawing" Target="../drawings/vmlDrawing2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6.bin"/><Relationship Id="rId4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2.xml"/><Relationship Id="rId1" Type="http://schemas.openxmlformats.org/officeDocument/2006/relationships/vmlDrawing" Target="../drawings/vmlDrawing2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7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3.xml"/><Relationship Id="rId1" Type="http://schemas.openxmlformats.org/officeDocument/2006/relationships/vmlDrawing" Target="../drawings/vmlDrawing2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8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4.xml"/><Relationship Id="rId1" Type="http://schemas.openxmlformats.org/officeDocument/2006/relationships/vmlDrawing" Target="../drawings/vmlDrawing28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9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5.xml"/><Relationship Id="rId1" Type="http://schemas.openxmlformats.org/officeDocument/2006/relationships/vmlDrawing" Target="../drawings/vmlDrawing28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4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4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88.xml"/></Relationships>
</file>

<file path=ppt/slideLayouts/_rels/slideLayout30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4.bin"/><Relationship Id="rId3" Type="http://schemas.openxmlformats.org/officeDocument/2006/relationships/tags" Target="../tags/tag492.xml"/><Relationship Id="rId7" Type="http://schemas.openxmlformats.org/officeDocument/2006/relationships/image" Target="../media/image16.png"/><Relationship Id="rId2" Type="http://schemas.openxmlformats.org/officeDocument/2006/relationships/tags" Target="../tags/tag491.xml"/><Relationship Id="rId1" Type="http://schemas.openxmlformats.org/officeDocument/2006/relationships/vmlDrawing" Target="../drawings/vmlDrawing28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93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4.emf"/></Relationships>
</file>

<file path=ppt/slideLayouts/_rels/slideLayout3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6.bin"/><Relationship Id="rId3" Type="http://schemas.openxmlformats.org/officeDocument/2006/relationships/tags" Target="../tags/tag494.xml"/><Relationship Id="rId7" Type="http://schemas.openxmlformats.org/officeDocument/2006/relationships/image" Target="../media/image16.png"/><Relationship Id="rId2" Type="http://schemas.openxmlformats.org/officeDocument/2006/relationships/tags" Target="../tags/tag493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95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4.emf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4.png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8.bin"/><Relationship Id="rId3" Type="http://schemas.openxmlformats.org/officeDocument/2006/relationships/tags" Target="../tags/tag496.xml"/><Relationship Id="rId7" Type="http://schemas.openxmlformats.org/officeDocument/2006/relationships/image" Target="../media/image16.png"/><Relationship Id="rId2" Type="http://schemas.openxmlformats.org/officeDocument/2006/relationships/tags" Target="../tags/tag495.xml"/><Relationship Id="rId1" Type="http://schemas.openxmlformats.org/officeDocument/2006/relationships/vmlDrawing" Target="../drawings/vmlDrawing29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97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4.emf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9.bin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98.xml"/><Relationship Id="rId1" Type="http://schemas.openxmlformats.org/officeDocument/2006/relationships/vmlDrawing" Target="../drawings/vmlDrawing293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0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99.xml"/><Relationship Id="rId1" Type="http://schemas.openxmlformats.org/officeDocument/2006/relationships/vmlDrawing" Target="../drawings/vmlDrawing294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1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295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01.xml"/><Relationship Id="rId1" Type="http://schemas.openxmlformats.org/officeDocument/2006/relationships/vmlDrawing" Target="../drawings/vmlDrawing296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3.bin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4.bin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tags" Target="../tags/tag504.xml"/><Relationship Id="rId7" Type="http://schemas.openxmlformats.org/officeDocument/2006/relationships/image" Target="../media/image16.png"/><Relationship Id="rId2" Type="http://schemas.openxmlformats.org/officeDocument/2006/relationships/tags" Target="../tags/tag503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05.bin"/><Relationship Id="rId4" Type="http://schemas.openxmlformats.org/officeDocument/2006/relationships/slideMaster" Target="../slideMasters/slideMaster8.xml"/></Relationships>
</file>

<file path=ppt/slideLayouts/_rels/slideLayout3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7.bin"/><Relationship Id="rId3" Type="http://schemas.openxmlformats.org/officeDocument/2006/relationships/tags" Target="../tags/tag506.xml"/><Relationship Id="rId7" Type="http://schemas.openxmlformats.org/officeDocument/2006/relationships/image" Target="../media/image16.png"/><Relationship Id="rId2" Type="http://schemas.openxmlformats.org/officeDocument/2006/relationships/tags" Target="../tags/tag505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06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4.emf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0.xml"/><Relationship Id="rId7" Type="http://schemas.openxmlformats.org/officeDocument/2006/relationships/image" Target="../media/image2.emf"/><Relationship Id="rId2" Type="http://schemas.openxmlformats.org/officeDocument/2006/relationships/tags" Target="../tags/tag509.xml"/><Relationship Id="rId1" Type="http://schemas.openxmlformats.org/officeDocument/2006/relationships/vmlDrawing" Target="../drawings/vmlDrawing301.vml"/><Relationship Id="rId6" Type="http://schemas.openxmlformats.org/officeDocument/2006/relationships/oleObject" Target="../embeddings/oleObject309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tags" Target="../tags/tag512.xml"/><Relationship Id="rId7" Type="http://schemas.openxmlformats.org/officeDocument/2006/relationships/image" Target="../media/image4.png"/><Relationship Id="rId2" Type="http://schemas.openxmlformats.org/officeDocument/2006/relationships/tags" Target="../tags/tag511.xml"/><Relationship Id="rId1" Type="http://schemas.openxmlformats.org/officeDocument/2006/relationships/vmlDrawing" Target="../drawings/vmlDrawing30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0.bin"/><Relationship Id="rId4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tags" Target="../tags/tag514.xml"/><Relationship Id="rId7" Type="http://schemas.openxmlformats.org/officeDocument/2006/relationships/image" Target="../media/image4.png"/><Relationship Id="rId2" Type="http://schemas.openxmlformats.org/officeDocument/2006/relationships/tags" Target="../tags/tag513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1.bin"/><Relationship Id="rId4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tags" Target="../tags/tag516.xml"/><Relationship Id="rId2" Type="http://schemas.openxmlformats.org/officeDocument/2006/relationships/tags" Target="../tags/tag515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2.bin"/><Relationship Id="rId4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tags" Target="../tags/tag518.xml"/><Relationship Id="rId2" Type="http://schemas.openxmlformats.org/officeDocument/2006/relationships/tags" Target="../tags/tag517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3.bin"/><Relationship Id="rId4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tags" Target="../tags/tag520.xml"/><Relationship Id="rId2" Type="http://schemas.openxmlformats.org/officeDocument/2006/relationships/tags" Target="../tags/tag519.xml"/><Relationship Id="rId1" Type="http://schemas.openxmlformats.org/officeDocument/2006/relationships/vmlDrawing" Target="../drawings/vmlDrawing30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4.bin"/><Relationship Id="rId4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tags" Target="../tags/tag522.xml"/><Relationship Id="rId7" Type="http://schemas.openxmlformats.org/officeDocument/2006/relationships/image" Target="../media/image6.png"/><Relationship Id="rId2" Type="http://schemas.openxmlformats.org/officeDocument/2006/relationships/tags" Target="../tags/tag521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5.bin"/><Relationship Id="rId4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tags" Target="../tags/tag524.xml"/><Relationship Id="rId7" Type="http://schemas.openxmlformats.org/officeDocument/2006/relationships/image" Target="../media/image6.png"/><Relationship Id="rId2" Type="http://schemas.openxmlformats.org/officeDocument/2006/relationships/tags" Target="../tags/tag523.xml"/><Relationship Id="rId1" Type="http://schemas.openxmlformats.org/officeDocument/2006/relationships/vmlDrawing" Target="../drawings/vmlDrawing30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6.bin"/><Relationship Id="rId4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tags" Target="../tags/tag526.xml"/><Relationship Id="rId7" Type="http://schemas.openxmlformats.org/officeDocument/2006/relationships/image" Target="../media/image6.png"/><Relationship Id="rId2" Type="http://schemas.openxmlformats.org/officeDocument/2006/relationships/tags" Target="../tags/tag525.xml"/><Relationship Id="rId1" Type="http://schemas.openxmlformats.org/officeDocument/2006/relationships/vmlDrawing" Target="../drawings/vmlDrawing30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7.bin"/><Relationship Id="rId4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tags" Target="../tags/tag528.xml"/><Relationship Id="rId7" Type="http://schemas.openxmlformats.org/officeDocument/2006/relationships/image" Target="../media/image6.png"/><Relationship Id="rId2" Type="http://schemas.openxmlformats.org/officeDocument/2006/relationships/tags" Target="../tags/tag527.xml"/><Relationship Id="rId1" Type="http://schemas.openxmlformats.org/officeDocument/2006/relationships/vmlDrawing" Target="../drawings/vmlDrawing3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8.bin"/><Relationship Id="rId4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tags" Target="../tags/tag530.xml"/><Relationship Id="rId7" Type="http://schemas.openxmlformats.org/officeDocument/2006/relationships/image" Target="../media/image6.png"/><Relationship Id="rId2" Type="http://schemas.openxmlformats.org/officeDocument/2006/relationships/tags" Target="../tags/tag529.xml"/><Relationship Id="rId1" Type="http://schemas.openxmlformats.org/officeDocument/2006/relationships/vmlDrawing" Target="../drawings/vmlDrawing3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9.bin"/><Relationship Id="rId4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tags" Target="../tags/tag532.xml"/><Relationship Id="rId7" Type="http://schemas.openxmlformats.org/officeDocument/2006/relationships/image" Target="../media/image7.png"/><Relationship Id="rId2" Type="http://schemas.openxmlformats.org/officeDocument/2006/relationships/tags" Target="../tags/tag531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0.bin"/><Relationship Id="rId4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tags" Target="../tags/tag534.xml"/><Relationship Id="rId7" Type="http://schemas.openxmlformats.org/officeDocument/2006/relationships/image" Target="../media/image8.png"/><Relationship Id="rId2" Type="http://schemas.openxmlformats.org/officeDocument/2006/relationships/tags" Target="../tags/tag533.xml"/><Relationship Id="rId1" Type="http://schemas.openxmlformats.org/officeDocument/2006/relationships/vmlDrawing" Target="../drawings/vmlDrawing3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1.bin"/><Relationship Id="rId4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tags" Target="../tags/tag536.xml"/><Relationship Id="rId7" Type="http://schemas.openxmlformats.org/officeDocument/2006/relationships/image" Target="../media/image10.png"/><Relationship Id="rId2" Type="http://schemas.openxmlformats.org/officeDocument/2006/relationships/tags" Target="../tags/tag535.xml"/><Relationship Id="rId1" Type="http://schemas.openxmlformats.org/officeDocument/2006/relationships/vmlDrawing" Target="../drawings/vmlDrawing3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22.bin"/><Relationship Id="rId4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tags" Target="../tags/tag538.xml"/><Relationship Id="rId7" Type="http://schemas.openxmlformats.org/officeDocument/2006/relationships/image" Target="../media/image8.png"/><Relationship Id="rId2" Type="http://schemas.openxmlformats.org/officeDocument/2006/relationships/tags" Target="../tags/tag537.xml"/><Relationship Id="rId1" Type="http://schemas.openxmlformats.org/officeDocument/2006/relationships/vmlDrawing" Target="../drawings/vmlDrawing3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3.bin"/><Relationship Id="rId4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tags" Target="../tags/tag540.xml"/><Relationship Id="rId7" Type="http://schemas.openxmlformats.org/officeDocument/2006/relationships/image" Target="../media/image7.png"/><Relationship Id="rId2" Type="http://schemas.openxmlformats.org/officeDocument/2006/relationships/tags" Target="../tags/tag539.xml"/><Relationship Id="rId1" Type="http://schemas.openxmlformats.org/officeDocument/2006/relationships/vmlDrawing" Target="../drawings/vmlDrawing3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4.bin"/><Relationship Id="rId4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tags" Target="../tags/tag542.xml"/><Relationship Id="rId7" Type="http://schemas.openxmlformats.org/officeDocument/2006/relationships/image" Target="../media/image8.png"/><Relationship Id="rId2" Type="http://schemas.openxmlformats.org/officeDocument/2006/relationships/tags" Target="../tags/tag541.xml"/><Relationship Id="rId1" Type="http://schemas.openxmlformats.org/officeDocument/2006/relationships/vmlDrawing" Target="../drawings/vmlDrawing3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5.bin"/><Relationship Id="rId4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tags" Target="../tags/tag544.xml"/><Relationship Id="rId7" Type="http://schemas.openxmlformats.org/officeDocument/2006/relationships/image" Target="../media/image7.png"/><Relationship Id="rId2" Type="http://schemas.openxmlformats.org/officeDocument/2006/relationships/tags" Target="../tags/tag543.xml"/><Relationship Id="rId1" Type="http://schemas.openxmlformats.org/officeDocument/2006/relationships/vmlDrawing" Target="../drawings/vmlDrawing3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6.bin"/><Relationship Id="rId4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tags" Target="../tags/tag546.xml"/><Relationship Id="rId7" Type="http://schemas.openxmlformats.org/officeDocument/2006/relationships/image" Target="../media/image8.png"/><Relationship Id="rId2" Type="http://schemas.openxmlformats.org/officeDocument/2006/relationships/tags" Target="../tags/tag545.xml"/><Relationship Id="rId1" Type="http://schemas.openxmlformats.org/officeDocument/2006/relationships/vmlDrawing" Target="../drawings/vmlDrawing3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7.bin"/><Relationship Id="rId4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tags" Target="../tags/tag548.xml"/><Relationship Id="rId2" Type="http://schemas.openxmlformats.org/officeDocument/2006/relationships/tags" Target="../tags/tag547.xml"/><Relationship Id="rId1" Type="http://schemas.openxmlformats.org/officeDocument/2006/relationships/vmlDrawing" Target="../drawings/vmlDrawing3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8.bin"/><Relationship Id="rId4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tags" Target="../tags/tag550.xml"/><Relationship Id="rId2" Type="http://schemas.openxmlformats.org/officeDocument/2006/relationships/tags" Target="../tags/tag549.xml"/><Relationship Id="rId1" Type="http://schemas.openxmlformats.org/officeDocument/2006/relationships/vmlDrawing" Target="../drawings/vmlDrawing3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9.bin"/><Relationship Id="rId4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1.xml"/><Relationship Id="rId1" Type="http://schemas.openxmlformats.org/officeDocument/2006/relationships/vmlDrawing" Target="../drawings/vmlDrawing322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30.bin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tags" Target="../tags/tag553.xml"/><Relationship Id="rId2" Type="http://schemas.openxmlformats.org/officeDocument/2006/relationships/tags" Target="../tags/tag552.xml"/><Relationship Id="rId1" Type="http://schemas.openxmlformats.org/officeDocument/2006/relationships/vmlDrawing" Target="../drawings/vmlDrawing3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1.bin"/><Relationship Id="rId4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4.xml"/><Relationship Id="rId1" Type="http://schemas.openxmlformats.org/officeDocument/2006/relationships/vmlDrawing" Target="../drawings/vmlDrawing3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2.bin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5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3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6.xml"/><Relationship Id="rId1" Type="http://schemas.openxmlformats.org/officeDocument/2006/relationships/vmlDrawing" Target="../drawings/vmlDrawing3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6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.png"/><Relationship Id="rId2" Type="http://schemas.openxmlformats.org/officeDocument/2006/relationships/tags" Target="../tags/tag557.xml"/><Relationship Id="rId1" Type="http://schemas.openxmlformats.org/officeDocument/2006/relationships/vmlDrawing" Target="../drawings/vmlDrawing3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5.bin"/><Relationship Id="rId4" Type="http://schemas.openxmlformats.org/officeDocument/2006/relationships/image" Target="../media/image3.jp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8.xml"/><Relationship Id="rId1" Type="http://schemas.openxmlformats.org/officeDocument/2006/relationships/vmlDrawing" Target="../drawings/vmlDrawing3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6.bin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tags" Target="../tags/tag560.xml"/><Relationship Id="rId7" Type="http://schemas.openxmlformats.org/officeDocument/2006/relationships/image" Target="../media/image4.png"/><Relationship Id="rId2" Type="http://schemas.openxmlformats.org/officeDocument/2006/relationships/tags" Target="../tags/tag559.xml"/><Relationship Id="rId1" Type="http://schemas.openxmlformats.org/officeDocument/2006/relationships/vmlDrawing" Target="../drawings/vmlDrawing3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7.bin"/><Relationship Id="rId4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tags" Target="../tags/tag562.xml"/><Relationship Id="rId7" Type="http://schemas.openxmlformats.org/officeDocument/2006/relationships/image" Target="../media/image4.png"/><Relationship Id="rId2" Type="http://schemas.openxmlformats.org/officeDocument/2006/relationships/tags" Target="../tags/tag561.xml"/><Relationship Id="rId1" Type="http://schemas.openxmlformats.org/officeDocument/2006/relationships/vmlDrawing" Target="../drawings/vmlDrawing3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8.bin"/><Relationship Id="rId4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tags" Target="../tags/tag564.xml"/><Relationship Id="rId7" Type="http://schemas.openxmlformats.org/officeDocument/2006/relationships/image" Target="../media/image4.png"/><Relationship Id="rId2" Type="http://schemas.openxmlformats.org/officeDocument/2006/relationships/tags" Target="../tags/tag563.xml"/><Relationship Id="rId1" Type="http://schemas.openxmlformats.org/officeDocument/2006/relationships/vmlDrawing" Target="../drawings/vmlDrawing3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9.bin"/><Relationship Id="rId4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tags" Target="../tags/tag566.xml"/><Relationship Id="rId2" Type="http://schemas.openxmlformats.org/officeDocument/2006/relationships/tags" Target="../tags/tag565.xml"/><Relationship Id="rId1" Type="http://schemas.openxmlformats.org/officeDocument/2006/relationships/vmlDrawing" Target="../drawings/vmlDrawing3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0.bin"/><Relationship Id="rId4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tags" Target="../tags/tag568.xml"/><Relationship Id="rId2" Type="http://schemas.openxmlformats.org/officeDocument/2006/relationships/tags" Target="../tags/tag567.xml"/><Relationship Id="rId1" Type="http://schemas.openxmlformats.org/officeDocument/2006/relationships/vmlDrawing" Target="../drawings/vmlDrawing3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1.bin"/><Relationship Id="rId4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tags" Target="../tags/tag570.xml"/><Relationship Id="rId2" Type="http://schemas.openxmlformats.org/officeDocument/2006/relationships/tags" Target="../tags/tag569.xml"/><Relationship Id="rId1" Type="http://schemas.openxmlformats.org/officeDocument/2006/relationships/vmlDrawing" Target="../drawings/vmlDrawing3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2.bin"/><Relationship Id="rId4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tags" Target="../tags/tag572.xml"/><Relationship Id="rId7" Type="http://schemas.openxmlformats.org/officeDocument/2006/relationships/image" Target="../media/image6.png"/><Relationship Id="rId2" Type="http://schemas.openxmlformats.org/officeDocument/2006/relationships/tags" Target="../tags/tag571.xml"/><Relationship Id="rId1" Type="http://schemas.openxmlformats.org/officeDocument/2006/relationships/vmlDrawing" Target="../drawings/vmlDrawing3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3.bin"/><Relationship Id="rId4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tags" Target="../tags/tag574.xml"/><Relationship Id="rId7" Type="http://schemas.openxmlformats.org/officeDocument/2006/relationships/image" Target="../media/image6.png"/><Relationship Id="rId2" Type="http://schemas.openxmlformats.org/officeDocument/2006/relationships/tags" Target="../tags/tag573.xml"/><Relationship Id="rId1" Type="http://schemas.openxmlformats.org/officeDocument/2006/relationships/vmlDrawing" Target="../drawings/vmlDrawing3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4.bin"/><Relationship Id="rId4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6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tags" Target="../tags/tag576.xml"/><Relationship Id="rId7" Type="http://schemas.openxmlformats.org/officeDocument/2006/relationships/image" Target="../media/image6.png"/><Relationship Id="rId2" Type="http://schemas.openxmlformats.org/officeDocument/2006/relationships/tags" Target="../tags/tag575.xml"/><Relationship Id="rId1" Type="http://schemas.openxmlformats.org/officeDocument/2006/relationships/vmlDrawing" Target="../drawings/vmlDrawing3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5.bin"/><Relationship Id="rId4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tags" Target="../tags/tag578.xml"/><Relationship Id="rId7" Type="http://schemas.openxmlformats.org/officeDocument/2006/relationships/image" Target="../media/image6.png"/><Relationship Id="rId2" Type="http://schemas.openxmlformats.org/officeDocument/2006/relationships/tags" Target="../tags/tag577.xml"/><Relationship Id="rId1" Type="http://schemas.openxmlformats.org/officeDocument/2006/relationships/vmlDrawing" Target="../drawings/vmlDrawing3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6.bin"/><Relationship Id="rId4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tags" Target="../tags/tag580.xml"/><Relationship Id="rId7" Type="http://schemas.openxmlformats.org/officeDocument/2006/relationships/image" Target="../media/image6.png"/><Relationship Id="rId2" Type="http://schemas.openxmlformats.org/officeDocument/2006/relationships/tags" Target="../tags/tag579.xml"/><Relationship Id="rId1" Type="http://schemas.openxmlformats.org/officeDocument/2006/relationships/vmlDrawing" Target="../drawings/vmlDrawing3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7.bin"/><Relationship Id="rId4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tags" Target="../tags/tag582.xml"/><Relationship Id="rId7" Type="http://schemas.openxmlformats.org/officeDocument/2006/relationships/image" Target="../media/image6.png"/><Relationship Id="rId2" Type="http://schemas.openxmlformats.org/officeDocument/2006/relationships/tags" Target="../tags/tag581.xml"/><Relationship Id="rId1" Type="http://schemas.openxmlformats.org/officeDocument/2006/relationships/vmlDrawing" Target="../drawings/vmlDrawing3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8.bin"/><Relationship Id="rId4" Type="http://schemas.openxmlformats.org/officeDocument/2006/relationships/slideMaster" Target="../slideMasters/slideMaster9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tags" Target="../tags/tag584.xml"/><Relationship Id="rId7" Type="http://schemas.openxmlformats.org/officeDocument/2006/relationships/image" Target="../media/image7.png"/><Relationship Id="rId2" Type="http://schemas.openxmlformats.org/officeDocument/2006/relationships/tags" Target="../tags/tag583.xml"/><Relationship Id="rId1" Type="http://schemas.openxmlformats.org/officeDocument/2006/relationships/vmlDrawing" Target="../drawings/vmlDrawing34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49.bin"/><Relationship Id="rId4" Type="http://schemas.openxmlformats.org/officeDocument/2006/relationships/slideMaster" Target="../slideMasters/slideMaster9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tags" Target="../tags/tag586.xml"/><Relationship Id="rId7" Type="http://schemas.openxmlformats.org/officeDocument/2006/relationships/image" Target="../media/image8.png"/><Relationship Id="rId2" Type="http://schemas.openxmlformats.org/officeDocument/2006/relationships/tags" Target="../tags/tag585.xml"/><Relationship Id="rId1" Type="http://schemas.openxmlformats.org/officeDocument/2006/relationships/vmlDrawing" Target="../drawings/vmlDrawing34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0.bin"/><Relationship Id="rId4" Type="http://schemas.openxmlformats.org/officeDocument/2006/relationships/slideMaster" Target="../slideMasters/slideMaster9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tags" Target="../tags/tag588.xml"/><Relationship Id="rId7" Type="http://schemas.openxmlformats.org/officeDocument/2006/relationships/image" Target="../media/image10.png"/><Relationship Id="rId2" Type="http://schemas.openxmlformats.org/officeDocument/2006/relationships/tags" Target="../tags/tag587.xml"/><Relationship Id="rId1" Type="http://schemas.openxmlformats.org/officeDocument/2006/relationships/vmlDrawing" Target="../drawings/vmlDrawing3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1.bin"/><Relationship Id="rId4" Type="http://schemas.openxmlformats.org/officeDocument/2006/relationships/slideMaster" Target="../slideMasters/slideMaster9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tags" Target="../tags/tag590.xml"/><Relationship Id="rId7" Type="http://schemas.openxmlformats.org/officeDocument/2006/relationships/image" Target="../media/image8.png"/><Relationship Id="rId2" Type="http://schemas.openxmlformats.org/officeDocument/2006/relationships/tags" Target="../tags/tag589.xml"/><Relationship Id="rId1" Type="http://schemas.openxmlformats.org/officeDocument/2006/relationships/vmlDrawing" Target="../drawings/vmlDrawing34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2.bin"/><Relationship Id="rId4" Type="http://schemas.openxmlformats.org/officeDocument/2006/relationships/slideMaster" Target="../slideMasters/slideMaster9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7" Type="http://schemas.openxmlformats.org/officeDocument/2006/relationships/image" Target="../media/image7.png"/><Relationship Id="rId2" Type="http://schemas.openxmlformats.org/officeDocument/2006/relationships/tags" Target="../tags/tag591.xml"/><Relationship Id="rId1" Type="http://schemas.openxmlformats.org/officeDocument/2006/relationships/vmlDrawing" Target="../drawings/vmlDrawing3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3.bin"/><Relationship Id="rId4" Type="http://schemas.openxmlformats.org/officeDocument/2006/relationships/slideMaster" Target="../slideMasters/slideMaster9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tags" Target="../tags/tag594.xml"/><Relationship Id="rId7" Type="http://schemas.openxmlformats.org/officeDocument/2006/relationships/image" Target="../media/image8.png"/><Relationship Id="rId2" Type="http://schemas.openxmlformats.org/officeDocument/2006/relationships/tags" Target="../tags/tag593.xml"/><Relationship Id="rId1" Type="http://schemas.openxmlformats.org/officeDocument/2006/relationships/vmlDrawing" Target="../drawings/vmlDrawing3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4.bin"/><Relationship Id="rId4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6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tags" Target="../tags/tag596.xml"/><Relationship Id="rId7" Type="http://schemas.openxmlformats.org/officeDocument/2006/relationships/image" Target="../media/image7.png"/><Relationship Id="rId2" Type="http://schemas.openxmlformats.org/officeDocument/2006/relationships/tags" Target="../tags/tag595.xml"/><Relationship Id="rId1" Type="http://schemas.openxmlformats.org/officeDocument/2006/relationships/vmlDrawing" Target="../drawings/vmlDrawing3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5.bin"/><Relationship Id="rId4" Type="http://schemas.openxmlformats.org/officeDocument/2006/relationships/slideMaster" Target="../slideMasters/slideMaster9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tags" Target="../tags/tag598.xml"/><Relationship Id="rId7" Type="http://schemas.openxmlformats.org/officeDocument/2006/relationships/image" Target="../media/image8.png"/><Relationship Id="rId2" Type="http://schemas.openxmlformats.org/officeDocument/2006/relationships/tags" Target="../tags/tag597.xml"/><Relationship Id="rId1" Type="http://schemas.openxmlformats.org/officeDocument/2006/relationships/vmlDrawing" Target="../drawings/vmlDrawing3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6.bin"/><Relationship Id="rId4" Type="http://schemas.openxmlformats.org/officeDocument/2006/relationships/slideMaster" Target="../slideMasters/slideMaster9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tags" Target="../tags/tag600.xml"/><Relationship Id="rId2" Type="http://schemas.openxmlformats.org/officeDocument/2006/relationships/tags" Target="../tags/tag599.xml"/><Relationship Id="rId1" Type="http://schemas.openxmlformats.org/officeDocument/2006/relationships/vmlDrawing" Target="../drawings/vmlDrawing3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7.bin"/><Relationship Id="rId4" Type="http://schemas.openxmlformats.org/officeDocument/2006/relationships/slideMaster" Target="../slideMasters/slideMaster9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tags" Target="../tags/tag602.xml"/><Relationship Id="rId2" Type="http://schemas.openxmlformats.org/officeDocument/2006/relationships/tags" Target="../tags/tag601.xml"/><Relationship Id="rId1" Type="http://schemas.openxmlformats.org/officeDocument/2006/relationships/vmlDrawing" Target="../drawings/vmlDrawing3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8.bin"/><Relationship Id="rId4" Type="http://schemas.openxmlformats.org/officeDocument/2006/relationships/slideMaster" Target="../slideMasters/slideMaster9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03.xml"/><Relationship Id="rId1" Type="http://schemas.openxmlformats.org/officeDocument/2006/relationships/vmlDrawing" Target="../drawings/vmlDrawing351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9.bin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tags" Target="../tags/tag605.xml"/><Relationship Id="rId2" Type="http://schemas.openxmlformats.org/officeDocument/2006/relationships/tags" Target="../tags/tag604.xml"/><Relationship Id="rId1" Type="http://schemas.openxmlformats.org/officeDocument/2006/relationships/vmlDrawing" Target="../drawings/vmlDrawing3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0.bin"/><Relationship Id="rId4" Type="http://schemas.openxmlformats.org/officeDocument/2006/relationships/slideMaster" Target="../slideMasters/slideMaster9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06.xml"/><Relationship Id="rId1" Type="http://schemas.openxmlformats.org/officeDocument/2006/relationships/vmlDrawing" Target="../drawings/vmlDrawing353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1.bin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07.xml"/><Relationship Id="rId1" Type="http://schemas.openxmlformats.org/officeDocument/2006/relationships/vmlDrawing" Target="../drawings/vmlDrawing35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2.bin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08.xml"/><Relationship Id="rId1" Type="http://schemas.openxmlformats.org/officeDocument/2006/relationships/vmlDrawing" Target="../drawings/vmlDrawing3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3.bin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09.xml"/><Relationship Id="rId1" Type="http://schemas.openxmlformats.org/officeDocument/2006/relationships/vmlDrawing" Target="../drawings/vmlDrawing3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6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.png"/><Relationship Id="rId2" Type="http://schemas.openxmlformats.org/officeDocument/2006/relationships/tags" Target="../tags/tag610.xml"/><Relationship Id="rId1" Type="http://schemas.openxmlformats.org/officeDocument/2006/relationships/vmlDrawing" Target="../drawings/vmlDrawing3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5.bin"/><Relationship Id="rId4" Type="http://schemas.openxmlformats.org/officeDocument/2006/relationships/image" Target="../media/image3.jpg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11.xml"/><Relationship Id="rId1" Type="http://schemas.openxmlformats.org/officeDocument/2006/relationships/vmlDrawing" Target="../drawings/vmlDrawing35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6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tags" Target="../tags/tag613.xml"/><Relationship Id="rId2" Type="http://schemas.openxmlformats.org/officeDocument/2006/relationships/tags" Target="../tags/tag612.xml"/><Relationship Id="rId1" Type="http://schemas.openxmlformats.org/officeDocument/2006/relationships/vmlDrawing" Target="../drawings/vmlDrawing3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7.bin"/><Relationship Id="rId4" Type="http://schemas.openxmlformats.org/officeDocument/2006/relationships/slideMaster" Target="../slideMasters/slideMaster9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14.xml"/><Relationship Id="rId1" Type="http://schemas.openxmlformats.org/officeDocument/2006/relationships/vmlDrawing" Target="../drawings/vmlDrawing3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8.bin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15.xml"/><Relationship Id="rId1" Type="http://schemas.openxmlformats.org/officeDocument/2006/relationships/vmlDrawing" Target="../drawings/vmlDrawing3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9.bin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16.xml"/><Relationship Id="rId1" Type="http://schemas.openxmlformats.org/officeDocument/2006/relationships/vmlDrawing" Target="../drawings/vmlDrawing36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0.bin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tags" Target="../tags/tag618.xml"/><Relationship Id="rId2" Type="http://schemas.openxmlformats.org/officeDocument/2006/relationships/tags" Target="../tags/tag617.xml"/><Relationship Id="rId1" Type="http://schemas.openxmlformats.org/officeDocument/2006/relationships/vmlDrawing" Target="../drawings/vmlDrawing3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1.bin"/><Relationship Id="rId4" Type="http://schemas.openxmlformats.org/officeDocument/2006/relationships/slideMaster" Target="../slideMasters/slideMaster9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19.xml"/><Relationship Id="rId1" Type="http://schemas.openxmlformats.org/officeDocument/2006/relationships/vmlDrawing" Target="../drawings/vmlDrawing3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2.bin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20.xml"/><Relationship Id="rId1" Type="http://schemas.openxmlformats.org/officeDocument/2006/relationships/vmlDrawing" Target="../drawings/vmlDrawing3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3.bin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21.xml"/><Relationship Id="rId1" Type="http://schemas.openxmlformats.org/officeDocument/2006/relationships/vmlDrawing" Target="../drawings/vmlDrawing36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22.xml"/><Relationship Id="rId1" Type="http://schemas.openxmlformats.org/officeDocument/2006/relationships/vmlDrawing" Target="../drawings/vmlDrawing36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6.png"/><Relationship Id="rId2" Type="http://schemas.openxmlformats.org/officeDocument/2006/relationships/tags" Target="../tags/tag7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7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8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0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8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7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8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7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8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image" Target="../media/image3.jp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0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tags" Target="../tags/tag123.xml"/><Relationship Id="rId7" Type="http://schemas.openxmlformats.org/officeDocument/2006/relationships/image" Target="../media/image16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4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5.bin"/><Relationship Id="rId3" Type="http://schemas.openxmlformats.org/officeDocument/2006/relationships/tags" Target="../tags/tag125.xml"/><Relationship Id="rId7" Type="http://schemas.openxmlformats.org/officeDocument/2006/relationships/image" Target="../media/image16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4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7.bin"/><Relationship Id="rId3" Type="http://schemas.openxmlformats.org/officeDocument/2006/relationships/tags" Target="../tags/tag127.xml"/><Relationship Id="rId7" Type="http://schemas.openxmlformats.org/officeDocument/2006/relationships/image" Target="../media/image16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4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8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0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2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6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6.bin"/><Relationship Id="rId3" Type="http://schemas.openxmlformats.org/officeDocument/2006/relationships/tags" Target="../tags/tag137.xml"/><Relationship Id="rId7" Type="http://schemas.openxmlformats.org/officeDocument/2006/relationships/image" Target="../media/image16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4.emf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1.xml"/><Relationship Id="rId7" Type="http://schemas.openxmlformats.org/officeDocument/2006/relationships/image" Target="../media/image2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88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image" Target="../media/image4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4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6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6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6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image" Target="../media/image6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7.png"/><Relationship Id="rId2" Type="http://schemas.openxmlformats.org/officeDocument/2006/relationships/tags" Target="../tags/tag162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image" Target="../media/image8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5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6892362"/>
              </p:ext>
            </p:extLst>
          </p:nvPr>
        </p:nvGraphicFramePr>
        <p:xfrm>
          <a:off x="1294" y="1590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Diapositiva think-cell" r:id="rId6" imgW="384" imgH="384" progId="TCLayout.ActiveDocument.1">
                  <p:embed/>
                </p:oleObj>
              </mc:Choice>
              <mc:Fallback>
                <p:oleObj name="Diapositiva think-cell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4" y="1590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51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8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3" y="442922"/>
            <a:ext cx="1951626" cy="45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038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6274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2" y="0"/>
            <a:ext cx="33877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3" y="0"/>
            <a:ext cx="495623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56009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472342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0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398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264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724946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5" y="3416302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6724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599563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1" y="622807"/>
            <a:ext cx="3797338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10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906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680693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1" y="622807"/>
            <a:ext cx="3797338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2" y="3407811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2833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9467141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7"/>
            <a:ext cx="508365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10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4161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687539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7"/>
            <a:ext cx="508365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200" y="3407811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5503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014461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0"/>
            <a:ext cx="8883225" cy="1606551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7032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967501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0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0617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924516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2" name="Diapositiva think-cell" r:id="rId4" imgW="324" imgH="324" progId="TCLayout.ActiveDocument.1">
                  <p:embed/>
                </p:oleObj>
              </mc:Choice>
              <mc:Fallback>
                <p:oleObj name="Diapositiva think-cell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6" y="1040805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8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13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9681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2912568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9073898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2"/>
            <a:ext cx="8883225" cy="47089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3309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6191925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10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8" y="0"/>
            <a:ext cx="3552229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4" y="3929414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804651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6998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011562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0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48831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118383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4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8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5464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346295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7252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610726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2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>
            <a:off x="3307899" y="2540006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dirty="0">
                <a:solidFill>
                  <a:srgbClr val="000000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9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113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376665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6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248316"/>
              <a:ext cx="9030915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97043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838296"/>
              </p:ext>
            </p:extLst>
          </p:nvPr>
        </p:nvGraphicFramePr>
        <p:xfrm>
          <a:off x="1294" y="1590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0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4" y="1590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49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6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0" y="442920"/>
            <a:ext cx="1355626" cy="31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330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893949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Slide Number"/>
          <p:cNvSpPr txBox="1">
            <a:spLocks noChangeArrowheads="1"/>
          </p:cNvSpPr>
          <p:nvPr userDrawn="1"/>
        </p:nvSpPr>
        <p:spPr bwMode="auto">
          <a:xfrm>
            <a:off x="9385301" y="6718434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>
                <a:solidFill>
                  <a:srgbClr val="000000"/>
                </a:solidFill>
                <a:sym typeface="+mn-lt"/>
              </a:rPr>
              <a:pPr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Slide Number Line"/>
          <p:cNvSpPr>
            <a:spLocks noChangeShapeType="1"/>
          </p:cNvSpPr>
          <p:nvPr userDrawn="1"/>
        </p:nvSpPr>
        <p:spPr bwMode="auto">
          <a:xfrm>
            <a:off x="9269413" y="6734361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defTabSz="912552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Title 7"/>
          <p:cNvSpPr>
            <a:spLocks noGrp="1"/>
          </p:cNvSpPr>
          <p:nvPr>
            <p:ph type="title" hasCustomPrompt="1"/>
          </p:nvPr>
        </p:nvSpPr>
        <p:spPr>
          <a:xfrm>
            <a:off x="477808" y="149415"/>
            <a:ext cx="8691727" cy="684212"/>
          </a:xfrm>
        </p:spPr>
        <p:txBody>
          <a:bodyPr/>
          <a:lstStyle>
            <a:lvl1pPr>
              <a:defRPr sz="24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269413" y="359"/>
            <a:ext cx="640878" cy="58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669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32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52924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" name="Slide Number Line"/>
          <p:cNvSpPr>
            <a:spLocks noChangeShapeType="1"/>
          </p:cNvSpPr>
          <p:nvPr userDrawn="1"/>
        </p:nvSpPr>
        <p:spPr bwMode="auto">
          <a:xfrm>
            <a:off x="9269413" y="6734361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defTabSz="912552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477808" y="149415"/>
            <a:ext cx="8691727" cy="684212"/>
          </a:xfrm>
        </p:spPr>
        <p:txBody>
          <a:bodyPr/>
          <a:lstStyle>
            <a:lvl1pPr>
              <a:defRPr sz="24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4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7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9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602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906415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11875" y="2158995"/>
            <a:ext cx="3042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11875" y="1227053"/>
            <a:ext cx="3042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1481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5156296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6"/>
            <a:ext cx="7816649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040569" y="1424085"/>
            <a:ext cx="773274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780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653941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2764213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7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580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961396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11876" y="3680016"/>
            <a:ext cx="939135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80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003941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6" y="0"/>
            <a:ext cx="3314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11881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3655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097600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6" y="0"/>
            <a:ext cx="582721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81" y="622808"/>
            <a:ext cx="5099680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5541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6963190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336269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73403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8"/>
            <a:ext cx="658253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7356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850822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0" y="0"/>
            <a:ext cx="33877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11881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736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147051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2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3" y="0"/>
            <a:ext cx="495623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6437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283846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09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7" y="0"/>
            <a:ext cx="3552229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636" y="1785600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4247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344943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8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11881" y="2764211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5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401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8733868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11881" y="2764211"/>
            <a:ext cx="2013894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5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5826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80251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398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0694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459534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2764213"/>
            <a:ext cx="2013894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7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2716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787470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5" y="3416302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3494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066958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1" y="622808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10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635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971114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1" y="622808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2" y="3407811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85733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016625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8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10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603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7738399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8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200" y="3407811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3697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904625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0"/>
            <a:ext cx="8883225" cy="1606551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4791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520923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0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09326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2115695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8" name="Diapositiva think-cell" r:id="rId4" imgW="384" imgH="384" progId="TCLayout.ActiveDocument.1">
                  <p:embed/>
                </p:oleObj>
              </mc:Choice>
              <mc:Fallback>
                <p:oleObj name="Diapositiva think-cell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6" y="1040805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8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13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895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951055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9073898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8"/>
            <a:ext cx="8883225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7895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762424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6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7" y="2806338"/>
            <a:ext cx="2290763" cy="130497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525"/>
              </a:spcAft>
            </a:pPr>
            <a:r>
              <a:rPr lang="en-US" sz="4000" dirty="0">
                <a:solidFill>
                  <a:srgbClr val="000000"/>
                </a:solidFill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4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316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137267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400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5818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565480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0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990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462648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4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2606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778202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3513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147326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2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3307899" y="2540006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dirty="0">
                <a:solidFill>
                  <a:srgbClr val="000000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9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797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68110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6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248316"/>
              <a:ext cx="9030915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39707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067266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0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8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127874" y="4691193"/>
            <a:ext cx="75508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511875" y="907207"/>
            <a:ext cx="280215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25854" y="1115416"/>
            <a:ext cx="197361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405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5249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410902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44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8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1656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728747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8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8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511881" y="622800"/>
            <a:ext cx="5841874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prstClr val="white"/>
                </a:solidFill>
                <a:latin typeface="Arial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057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386189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9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0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511882" y="3207723"/>
            <a:ext cx="1257053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8995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200069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16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127874" y="4691193"/>
            <a:ext cx="755087" cy="9958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1875" y="907206"/>
            <a:ext cx="280215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rgbClr val="537BDF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25854" y="1115416"/>
            <a:ext cx="197361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>
                <a:solidFill>
                  <a:srgbClr val="537BDF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39023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187646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6" y="3416302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2756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207520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0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4653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386146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4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511881" y="622800"/>
            <a:ext cx="5841874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rgbClr val="537BDF"/>
                </a:solidFill>
                <a:latin typeface="Arial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436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6281012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8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0" y="0"/>
            <a:ext cx="33877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11880" y="3262152"/>
            <a:ext cx="943350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192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124191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7" y="2798194"/>
            <a:ext cx="2290763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525"/>
              </a:spcAft>
            </a:pPr>
            <a:r>
              <a:rPr lang="en-US" sz="4050" dirty="0">
                <a:solidFill>
                  <a:srgbClr val="193989"/>
                </a:solidFill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4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60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5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972688"/>
              </p:ext>
            </p:extLst>
          </p:nvPr>
        </p:nvGraphicFramePr>
        <p:xfrm>
          <a:off x="1294" y="1591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0" name="Diapositiva think-cell" r:id="rId6" imgW="384" imgH="384" progId="TCLayout.ActiveDocument.1">
                  <p:embed/>
                </p:oleObj>
              </mc:Choice>
              <mc:Fallback>
                <p:oleObj name="Diapositiva think-cell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4" y="1591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46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3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861" indent="0" algn="ctr">
              <a:buNone/>
              <a:defRPr sz="1500"/>
            </a:lvl2pPr>
            <a:lvl3pPr marL="685722" indent="0" algn="ctr">
              <a:buNone/>
              <a:defRPr sz="1400"/>
            </a:lvl3pPr>
            <a:lvl4pPr marL="1028583" indent="0" algn="ctr">
              <a:buNone/>
              <a:defRPr sz="1200"/>
            </a:lvl4pPr>
            <a:lvl5pPr marL="1371445" indent="0" algn="ctr">
              <a:buNone/>
              <a:defRPr sz="1200"/>
            </a:lvl5pPr>
            <a:lvl6pPr marL="1714305" indent="0" algn="ctr">
              <a:buNone/>
              <a:defRPr sz="1200"/>
            </a:lvl6pPr>
            <a:lvl7pPr marL="2057166" indent="0" algn="ctr">
              <a:buNone/>
              <a:defRPr sz="1200"/>
            </a:lvl7pPr>
            <a:lvl8pPr marL="2400027" indent="0" algn="ctr">
              <a:buNone/>
              <a:defRPr sz="1200"/>
            </a:lvl8pPr>
            <a:lvl9pPr marL="2742888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1" y="442918"/>
            <a:ext cx="1951626" cy="45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050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62789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7807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70" tIns="45628" rIns="91270" bIns="45628"/>
          <a:lstStyle/>
          <a:p>
            <a:pPr defTabSz="912448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668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1359773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1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477807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" name="Slide Number"/>
          <p:cNvSpPr txBox="1">
            <a:spLocks noChangeArrowheads="1"/>
          </p:cNvSpPr>
          <p:nvPr userDrawn="1"/>
        </p:nvSpPr>
        <p:spPr bwMode="auto">
          <a:xfrm>
            <a:off x="9385301" y="6718428"/>
            <a:ext cx="14106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 sz="800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70" tIns="45628" rIns="91270" bIns="45628"/>
          <a:lstStyle/>
          <a:p>
            <a:pPr defTabSz="912448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9787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31113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11875" y="1544275"/>
            <a:ext cx="2805075" cy="1495795"/>
          </a:xfrm>
          <a:noFill/>
        </p:spPr>
        <p:txBody>
          <a:bodyPr wrap="square" lIns="0" tIns="0" rIns="320003" bIns="0" anchor="b">
            <a:noAutofit/>
          </a:bodyPr>
          <a:lstStyle>
            <a:lvl1pPr>
              <a:defRPr sz="23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 userDrawn="1"/>
        </p:nvSpPr>
        <p:spPr bwMode="auto">
          <a:xfrm>
            <a:off x="9385301" y="6718429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654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339773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3"/>
            <a:ext cx="7816649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289" tIns="274289" rIns="274289" bIns="137145"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734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8506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02855" y="3680016"/>
            <a:ext cx="940574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527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657835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622809"/>
            <a:ext cx="3797338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12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70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57679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5" y="0"/>
            <a:ext cx="3314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681105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9546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22867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5" y="0"/>
            <a:ext cx="582721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5"/>
            <a:ext cx="5083650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7255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460266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49" y="0"/>
            <a:ext cx="33877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681105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002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59476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1" y="0"/>
            <a:ext cx="33877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2" y="0"/>
            <a:ext cx="4956232" cy="6858000"/>
          </a:xfrm>
          <a:prstGeom prst="rect">
            <a:avLst/>
          </a:prstGeom>
          <a:noFill/>
        </p:spPr>
        <p:txBody>
          <a:bodyPr lIns="914296" tIns="914296" rIns="914296" bIns="914296"/>
          <a:lstStyle>
            <a:lvl1pPr algn="ctr">
              <a:defRPr sz="14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03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201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326696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08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6" y="0"/>
            <a:ext cx="3552229" cy="6858000"/>
          </a:xfrm>
          <a:prstGeom prst="rect">
            <a:avLst/>
          </a:prstGeom>
          <a:noFill/>
        </p:spPr>
        <p:txBody>
          <a:bodyPr lIns="182859" tIns="914296" rIns="182859" bIns="914296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2" y="3931142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804651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2844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30785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2764209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1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507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29079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2764209"/>
            <a:ext cx="2013894" cy="1314311"/>
          </a:xfrm>
        </p:spPr>
        <p:txBody>
          <a:bodyPr anchor="ctr" anchorCtr="0">
            <a:noAutofit/>
          </a:bodyPr>
          <a:lstStyle>
            <a:lvl1pPr>
              <a:defRPr sz="23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2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4292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9872897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2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395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389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40729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9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4" y="3416303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1126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57023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622805"/>
            <a:ext cx="3797338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07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91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0207104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622809"/>
            <a:ext cx="3797338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3" y="3407813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558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82985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622805"/>
            <a:ext cx="3797338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1" y="3407809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10549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02316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5"/>
            <a:ext cx="5083650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07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829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714103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5"/>
            <a:ext cx="5083650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199" y="3407809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1441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699229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38"/>
            <a:ext cx="8883225" cy="1606551"/>
          </a:xfr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62782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98375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38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8205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37105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4" name="Diapositiva think-cell" r:id="rId4" imgW="324" imgH="324" progId="TCLayout.ActiveDocument.1">
                  <p:embed/>
                </p:oleObj>
              </mc:Choice>
              <mc:Fallback>
                <p:oleObj name="Diapositiva think-cell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5" y="1040804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6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68572" tIns="34286" rIns="68572" bIns="34286" numCol="1" anchor="t" anchorCtr="0" compatLnSpc="1">
            <a:prstTxWarp prst="textNoShape">
              <a:avLst/>
            </a:prstTxWarp>
            <a:noAutofit/>
          </a:bodyPr>
          <a:lstStyle/>
          <a:p>
            <a:pPr defTabSz="914296"/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245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31068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2"/>
            <a:ext cx="8883225" cy="470899"/>
          </a:xfrm>
        </p:spPr>
        <p:txBody>
          <a:bodyPr/>
          <a:lstStyle>
            <a:lvl1pPr>
              <a:defRPr sz="2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661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916125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2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2827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97109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6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7263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26400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0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8053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494431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9"/>
            <a:ext cx="508365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12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938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859776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84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>
            <a:off x="3307898" y="2540003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r>
              <a:rPr lang="en-US" sz="4000" dirty="0">
                <a:solidFill>
                  <a:srgbClr val="000000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470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16050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22">
                <a:defRPr/>
              </a:pPr>
              <a:endParaRPr lang="en-US" sz="140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296"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1" y="6269091"/>
              <a:ext cx="9030915" cy="29084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219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391788"/>
              </p:ext>
            </p:extLst>
          </p:nvPr>
        </p:nvGraphicFramePr>
        <p:xfrm>
          <a:off x="1294" y="1591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2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4" y="1591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8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46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3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861" indent="0" algn="ctr">
              <a:buNone/>
              <a:defRPr sz="1500"/>
            </a:lvl2pPr>
            <a:lvl3pPr marL="685722" indent="0" algn="ctr">
              <a:buNone/>
              <a:defRPr sz="1400"/>
            </a:lvl3pPr>
            <a:lvl4pPr marL="1028583" indent="0" algn="ctr">
              <a:buNone/>
              <a:defRPr sz="1200"/>
            </a:lvl4pPr>
            <a:lvl5pPr marL="1371445" indent="0" algn="ctr">
              <a:buNone/>
              <a:defRPr sz="1200"/>
            </a:lvl5pPr>
            <a:lvl6pPr marL="1714305" indent="0" algn="ctr">
              <a:buNone/>
              <a:defRPr sz="1200"/>
            </a:lvl6pPr>
            <a:lvl7pPr marL="2057166" indent="0" algn="ctr">
              <a:buNone/>
              <a:defRPr sz="1200"/>
            </a:lvl7pPr>
            <a:lvl8pPr marL="2400027" indent="0" algn="ctr">
              <a:buNone/>
              <a:defRPr sz="1200"/>
            </a:lvl8pPr>
            <a:lvl9pPr marL="2742888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0" y="442916"/>
            <a:ext cx="1355626" cy="31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888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565539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Slide Number"/>
          <p:cNvSpPr txBox="1">
            <a:spLocks noChangeArrowheads="1"/>
          </p:cNvSpPr>
          <p:nvPr userDrawn="1"/>
        </p:nvSpPr>
        <p:spPr bwMode="auto">
          <a:xfrm>
            <a:off x="9385301" y="6718431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70" tIns="45628" rIns="91270" bIns="45628"/>
          <a:lstStyle/>
          <a:p>
            <a:pPr defTabSz="912448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Title 7"/>
          <p:cNvSpPr>
            <a:spLocks noGrp="1"/>
          </p:cNvSpPr>
          <p:nvPr>
            <p:ph type="title" hasCustomPrompt="1"/>
          </p:nvPr>
        </p:nvSpPr>
        <p:spPr>
          <a:xfrm>
            <a:off x="477807" y="149415"/>
            <a:ext cx="8691727" cy="684212"/>
          </a:xfrm>
        </p:spPr>
        <p:txBody>
          <a:bodyPr/>
          <a:lstStyle>
            <a:lvl1pPr>
              <a:defRPr sz="23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269413" y="357"/>
            <a:ext cx="640878" cy="58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803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324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00099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70" tIns="45628" rIns="91270" bIns="45628"/>
          <a:lstStyle/>
          <a:p>
            <a:pPr defTabSz="912448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477807" y="149415"/>
            <a:ext cx="8691727" cy="684212"/>
          </a:xfrm>
        </p:spPr>
        <p:txBody>
          <a:bodyPr/>
          <a:lstStyle>
            <a:lvl1pPr>
              <a:defRPr sz="23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1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7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283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208611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11875" y="2158993"/>
            <a:ext cx="3042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861" indent="0" algn="ctr">
              <a:buNone/>
              <a:defRPr sz="1500"/>
            </a:lvl2pPr>
            <a:lvl3pPr marL="685722" indent="0" algn="ctr">
              <a:buNone/>
              <a:defRPr sz="1400"/>
            </a:lvl3pPr>
            <a:lvl4pPr marL="1028583" indent="0" algn="ctr">
              <a:buNone/>
              <a:defRPr sz="1200"/>
            </a:lvl4pPr>
            <a:lvl5pPr marL="1371445" indent="0" algn="ctr">
              <a:buNone/>
              <a:defRPr sz="1200"/>
            </a:lvl5pPr>
            <a:lvl6pPr marL="1714305" indent="0" algn="ctr">
              <a:buNone/>
              <a:defRPr sz="1200"/>
            </a:lvl6pPr>
            <a:lvl7pPr marL="2057166" indent="0" algn="ctr">
              <a:buNone/>
              <a:defRPr sz="1200"/>
            </a:lvl7pPr>
            <a:lvl8pPr marL="2400027" indent="0" algn="ctr">
              <a:buNone/>
              <a:defRPr sz="1200"/>
            </a:lvl8pPr>
            <a:lvl9pPr marL="2742888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11875" y="1227050"/>
            <a:ext cx="3042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2134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45090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3"/>
            <a:ext cx="7816649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289" tIns="274289" rIns="274289" bIns="137145"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040568" y="1424086"/>
            <a:ext cx="773274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83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39607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11876" y="3680016"/>
            <a:ext cx="939135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516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6162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5" y="0"/>
            <a:ext cx="3314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681105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1104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61092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5" y="0"/>
            <a:ext cx="582721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80" y="622806"/>
            <a:ext cx="5099680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44322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180113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9"/>
            <a:ext cx="508365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201" y="3407813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2719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072519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336268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73403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6"/>
            <a:ext cx="658253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2760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91939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49" y="0"/>
            <a:ext cx="33877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681105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8595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014454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1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2" y="0"/>
            <a:ext cx="4956232" cy="6858000"/>
          </a:xfrm>
          <a:prstGeom prst="rect">
            <a:avLst/>
          </a:prstGeom>
          <a:noFill/>
        </p:spPr>
        <p:txBody>
          <a:bodyPr lIns="914296" tIns="914296" rIns="914296" bIns="914296"/>
          <a:lstStyle>
            <a:lvl1pPr algn="ctr">
              <a:defRPr sz="14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03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5038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3206873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08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6" y="0"/>
            <a:ext cx="3552229" cy="6858000"/>
          </a:xfrm>
          <a:prstGeom prst="rect">
            <a:avLst/>
          </a:prstGeom>
          <a:noFill/>
        </p:spPr>
        <p:txBody>
          <a:bodyPr lIns="182859" tIns="914296" rIns="182859" bIns="914296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636" y="1785600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3360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0748223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0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2764209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1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33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36828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764209"/>
            <a:ext cx="2013894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2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43952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52835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395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244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81495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4" y="3416303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6885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690659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1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622806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07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72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02589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4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622806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1" y="3407809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811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09176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7809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b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700">
                <a:latin typeface="+mn-lt"/>
                <a:ea typeface="+mn-ea"/>
                <a:cs typeface="+mn-cs"/>
                <a:sym typeface="+mn-lt"/>
              </a:rPr>
              <a:pPr>
                <a:defRPr/>
              </a:pPr>
              <a:t>‹N›</a:t>
            </a:fld>
            <a:endParaRPr lang="en-US" sz="7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Slide Number Line"/>
          <p:cNvSpPr>
            <a:spLocks noChangeShapeType="1"/>
          </p:cNvSpPr>
          <p:nvPr userDrawn="1"/>
        </p:nvSpPr>
        <p:spPr bwMode="auto">
          <a:xfrm>
            <a:off x="9269413" y="6734363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marL="0" marR="0" lvl="0" indent="0" defTabSz="9125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42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80904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2"/>
            <a:ext cx="8883225" cy="1606551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06960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02430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6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07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003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043683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6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199" y="3407809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1306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66339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38"/>
            <a:ext cx="8883225" cy="1606551"/>
          </a:xfr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81420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91403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38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80969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99197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60" name="Diapositiva think-cell" r:id="rId4" imgW="384" imgH="384" progId="TCLayout.ActiveDocument.1">
                  <p:embed/>
                </p:oleObj>
              </mc:Choice>
              <mc:Fallback>
                <p:oleObj name="Diapositiva think-cell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5" y="1040804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6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72" tIns="34286" rIns="68572" bIns="34286" numCol="1" anchor="t" anchorCtr="0" compatLnSpc="1">
            <a:prstTxWarp prst="textNoShape">
              <a:avLst/>
            </a:prstTxWarp>
            <a:noAutofit/>
          </a:bodyPr>
          <a:lstStyle/>
          <a:p>
            <a:pPr defTabSz="914296"/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985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44185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6"/>
            <a:ext cx="8883225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0299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32649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6" y="2806335"/>
            <a:ext cx="2290763" cy="130497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296">
              <a:lnSpc>
                <a:spcPct val="106000"/>
              </a:lnSpc>
              <a:spcAft>
                <a:spcPts val="524"/>
              </a:spcAft>
            </a:pPr>
            <a:r>
              <a:rPr lang="en-US" sz="4000" dirty="0">
                <a:solidFill>
                  <a:srgbClr val="000000"/>
                </a:solidFill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1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888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10522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2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243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31005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6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54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54940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80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5852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511325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2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60802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8482806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4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3307898" y="2540003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r>
              <a:rPr lang="en-US" sz="4000" dirty="0">
                <a:solidFill>
                  <a:srgbClr val="000000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653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5518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22">
                <a:defRPr/>
              </a:pPr>
              <a:endParaRPr lang="en-US" sz="140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296"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1" y="6269091"/>
              <a:ext cx="9030915" cy="29084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41411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71291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2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127873" y="4691189"/>
            <a:ext cx="75508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6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45" tIns="134985" rIns="137145" bIns="13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96"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511875" y="907205"/>
            <a:ext cx="2802150" cy="92223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8948" tIns="35096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endParaRPr lang="en-US" sz="41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15443" y="1115416"/>
            <a:ext cx="1994435" cy="691718"/>
          </a:xfrm>
          <a:prstGeom prst="rect">
            <a:avLst/>
          </a:prstGeom>
          <a:noFill/>
        </p:spPr>
        <p:txBody>
          <a:bodyPr wrap="none" lIns="91429" tIns="45715" rIns="91429" bIns="45715" rtlCol="0">
            <a:spAutoFit/>
          </a:bodyPr>
          <a:lstStyle/>
          <a:p>
            <a:pPr algn="ctr" defTabSz="914296">
              <a:lnSpc>
                <a:spcPct val="95000"/>
              </a:lnSpc>
            </a:pPr>
            <a:r>
              <a:rPr lang="en-US" sz="41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1278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222977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6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8668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602640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0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511880" y="622801"/>
            <a:ext cx="5841874" cy="3600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600" dirty="0">
                <a:solidFill>
                  <a:prstClr val="white"/>
                </a:solidFill>
                <a:latin typeface="Arial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270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15697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4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49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511881" y="3207721"/>
            <a:ext cx="1257053" cy="31854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23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4975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5043355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8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127873" y="4691189"/>
            <a:ext cx="755087" cy="9958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6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45" tIns="134985" rIns="137145" bIns="13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96"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1875" y="907203"/>
            <a:ext cx="2802150" cy="922235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8948" tIns="35096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endParaRPr lang="en-US" sz="4100" dirty="0">
              <a:solidFill>
                <a:srgbClr val="537BDF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15443" y="1115416"/>
            <a:ext cx="1994435" cy="691718"/>
          </a:xfrm>
          <a:prstGeom prst="rect">
            <a:avLst/>
          </a:prstGeom>
          <a:noFill/>
        </p:spPr>
        <p:txBody>
          <a:bodyPr wrap="none" lIns="91429" tIns="45715" rIns="91429" bIns="45715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defTabSz="914296"/>
            <a:r>
              <a:rPr lang="en-US" sz="4100" dirty="0">
                <a:solidFill>
                  <a:srgbClr val="537BDF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0768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505667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6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63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1710020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511880" y="622801"/>
            <a:ext cx="5841874" cy="3600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600" dirty="0">
                <a:solidFill>
                  <a:srgbClr val="537BDF"/>
                </a:solidFill>
                <a:latin typeface="Arial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8386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409671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20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49" y="0"/>
            <a:ext cx="33877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11880" y="3262150"/>
            <a:ext cx="943350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31137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39932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Diapositiva think-cell" r:id="rId4" imgW="324" imgH="324" progId="TCLayout.ActiveDocument.1">
                  <p:embed/>
                </p:oleObj>
              </mc:Choice>
              <mc:Fallback>
                <p:oleObj name="Diapositiva think-cell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7" y="1040806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0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13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4759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3452212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4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6" y="2790048"/>
            <a:ext cx="2290763" cy="133754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296">
              <a:lnSpc>
                <a:spcPct val="106000"/>
              </a:lnSpc>
              <a:spcAft>
                <a:spcPts val="524"/>
              </a:spcAft>
            </a:pPr>
            <a:r>
              <a:rPr lang="en-US" sz="4100" dirty="0">
                <a:solidFill>
                  <a:srgbClr val="193989"/>
                </a:solidFill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1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9854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2" y="2130481"/>
            <a:ext cx="84201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005" indent="0" algn="ctr">
              <a:buNone/>
              <a:defRPr/>
            </a:lvl2pPr>
            <a:lvl3pPr marL="912014" indent="0" algn="ctr">
              <a:buNone/>
              <a:defRPr/>
            </a:lvl3pPr>
            <a:lvl4pPr marL="1368014" indent="0" algn="ctr">
              <a:buNone/>
              <a:defRPr/>
            </a:lvl4pPr>
            <a:lvl5pPr marL="1824023" indent="0" algn="ctr">
              <a:buNone/>
              <a:defRPr/>
            </a:lvl5pPr>
            <a:lvl6pPr marL="2280028" indent="0" algn="ctr">
              <a:buNone/>
              <a:defRPr/>
            </a:lvl6pPr>
            <a:lvl7pPr marL="2736038" indent="0" algn="ctr">
              <a:buNone/>
              <a:defRPr/>
            </a:lvl7pPr>
            <a:lvl8pPr marL="3192037" indent="0" algn="ctr">
              <a:buNone/>
              <a:defRPr/>
            </a:lvl8pPr>
            <a:lvl9pPr marL="3648043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2301913" y="3716337"/>
            <a:ext cx="8424862" cy="476251"/>
          </a:xfrm>
          <a:prstGeom prst="rect">
            <a:avLst/>
          </a:prstGeom>
        </p:spPr>
        <p:txBody>
          <a:bodyPr lIns="107031" tIns="53502" rIns="107031" bIns="53502"/>
          <a:lstStyle>
            <a:lvl1pPr>
              <a:defRPr/>
            </a:lvl1pPr>
          </a:lstStyle>
          <a:p>
            <a:pPr defTabSz="914296">
              <a:defRPr/>
            </a:pPr>
            <a:fld id="{9FAC80C6-9453-40BF-9CD4-6C5C31047F00}" type="datetimeFigureOut">
              <a:rPr lang="it-IT">
                <a:solidFill>
                  <a:srgbClr val="000000"/>
                </a:solidFill>
              </a:rPr>
              <a:pPr defTabSz="914296">
                <a:defRPr/>
              </a:pPr>
              <a:t>12/10/2020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38955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2301913" y="3716337"/>
            <a:ext cx="8424862" cy="476251"/>
          </a:xfrm>
          <a:prstGeom prst="rect">
            <a:avLst/>
          </a:prstGeom>
        </p:spPr>
        <p:txBody>
          <a:bodyPr lIns="107031" tIns="53502" rIns="107031" bIns="53502"/>
          <a:lstStyle>
            <a:lvl1pPr>
              <a:defRPr/>
            </a:lvl1pPr>
          </a:lstStyle>
          <a:p>
            <a:pPr defTabSz="914296">
              <a:defRPr/>
            </a:pPr>
            <a:fld id="{0831EF7C-05D5-46D1-B739-1948496A4ABB}" type="datetimeFigureOut">
              <a:rPr lang="it-IT">
                <a:solidFill>
                  <a:srgbClr val="000000"/>
                </a:solidFill>
              </a:rPr>
              <a:pPr defTabSz="914296">
                <a:defRPr/>
              </a:pPr>
              <a:t>12/10/2020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00534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5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518619"/>
              </p:ext>
            </p:extLst>
          </p:nvPr>
        </p:nvGraphicFramePr>
        <p:xfrm>
          <a:off x="1294" y="1591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2" name="Diapositiva think-cell" r:id="rId6" imgW="384" imgH="384" progId="TCLayout.ActiveDocument.1">
                  <p:embed/>
                </p:oleObj>
              </mc:Choice>
              <mc:Fallback>
                <p:oleObj name="Diapositiva think-cell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4" y="1591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46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3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861" indent="0" algn="ctr">
              <a:buNone/>
              <a:defRPr sz="1500"/>
            </a:lvl2pPr>
            <a:lvl3pPr marL="685722" indent="0" algn="ctr">
              <a:buNone/>
              <a:defRPr sz="1400"/>
            </a:lvl3pPr>
            <a:lvl4pPr marL="1028583" indent="0" algn="ctr">
              <a:buNone/>
              <a:defRPr sz="1200"/>
            </a:lvl4pPr>
            <a:lvl5pPr marL="1371445" indent="0" algn="ctr">
              <a:buNone/>
              <a:defRPr sz="1200"/>
            </a:lvl5pPr>
            <a:lvl6pPr marL="1714305" indent="0" algn="ctr">
              <a:buNone/>
              <a:defRPr sz="1200"/>
            </a:lvl6pPr>
            <a:lvl7pPr marL="2057166" indent="0" algn="ctr">
              <a:buNone/>
              <a:defRPr sz="1200"/>
            </a:lvl7pPr>
            <a:lvl8pPr marL="2400027" indent="0" algn="ctr">
              <a:buNone/>
              <a:defRPr sz="1200"/>
            </a:lvl8pPr>
            <a:lvl9pPr marL="2742888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1" y="442918"/>
            <a:ext cx="1951626" cy="45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639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22592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7807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70" tIns="45628" rIns="91270" bIns="45628"/>
          <a:lstStyle/>
          <a:p>
            <a:pPr defTabSz="912448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6957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41468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4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1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477807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" name="Slide Number"/>
          <p:cNvSpPr txBox="1">
            <a:spLocks noChangeArrowheads="1"/>
          </p:cNvSpPr>
          <p:nvPr userDrawn="1"/>
        </p:nvSpPr>
        <p:spPr bwMode="auto">
          <a:xfrm>
            <a:off x="9385301" y="6718428"/>
            <a:ext cx="14106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 sz="800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70" tIns="45628" rIns="91270" bIns="45628"/>
          <a:lstStyle/>
          <a:p>
            <a:pPr defTabSz="912448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426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45834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11875" y="1544275"/>
            <a:ext cx="2805075" cy="1495795"/>
          </a:xfrm>
          <a:noFill/>
        </p:spPr>
        <p:txBody>
          <a:bodyPr wrap="square" lIns="0" tIns="0" rIns="320003" bIns="0" anchor="b">
            <a:noAutofit/>
          </a:bodyPr>
          <a:lstStyle>
            <a:lvl1pPr>
              <a:defRPr sz="23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 userDrawn="1"/>
        </p:nvSpPr>
        <p:spPr bwMode="auto">
          <a:xfrm>
            <a:off x="9385301" y="6718429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1140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026773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3"/>
            <a:ext cx="7816649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289" tIns="274289" rIns="274289" bIns="137145"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3749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613100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1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02855" y="3680016"/>
            <a:ext cx="940574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779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154306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5" y="0"/>
            <a:ext cx="3314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681105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333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98627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2"/>
            <a:ext cx="8883225" cy="47089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28838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231015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5" y="0"/>
            <a:ext cx="582721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5"/>
            <a:ext cx="5083650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669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31973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49" y="0"/>
            <a:ext cx="33877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681105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7428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984705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1" y="0"/>
            <a:ext cx="33877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2" y="0"/>
            <a:ext cx="4956232" cy="6858000"/>
          </a:xfrm>
          <a:prstGeom prst="rect">
            <a:avLst/>
          </a:prstGeom>
          <a:noFill/>
        </p:spPr>
        <p:txBody>
          <a:bodyPr lIns="914296" tIns="914296" rIns="914296" bIns="914296"/>
          <a:lstStyle>
            <a:lvl1pPr algn="ctr">
              <a:defRPr sz="14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03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6774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539306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08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6" y="0"/>
            <a:ext cx="3552229" cy="6858000"/>
          </a:xfrm>
          <a:prstGeom prst="rect">
            <a:avLst/>
          </a:prstGeom>
          <a:noFill/>
        </p:spPr>
        <p:txBody>
          <a:bodyPr lIns="182859" tIns="914296" rIns="182859" bIns="914296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2" y="3931142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804651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31039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17933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2764209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1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565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002279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2764209"/>
            <a:ext cx="2013894" cy="1314311"/>
          </a:xfrm>
        </p:spPr>
        <p:txBody>
          <a:bodyPr anchor="ctr" anchorCtr="0">
            <a:noAutofit/>
          </a:bodyPr>
          <a:lstStyle>
            <a:lvl1pPr>
              <a:defRPr sz="23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2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520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931615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4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395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723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851436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2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4" y="3416303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64688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2360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622805"/>
            <a:ext cx="3797338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07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515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421981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7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622805"/>
            <a:ext cx="3797338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1" y="3407809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9341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31971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3396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78031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5"/>
            <a:ext cx="5083650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07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28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57380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5"/>
            <a:ext cx="5083650" cy="31854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199" y="3407809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96774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260925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38"/>
            <a:ext cx="8883225" cy="1606551"/>
          </a:xfr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22387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851929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38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756745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127392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96" name="Diapositiva think-cell" r:id="rId4" imgW="324" imgH="324" progId="TCLayout.ActiveDocument.1">
                  <p:embed/>
                </p:oleObj>
              </mc:Choice>
              <mc:Fallback>
                <p:oleObj name="Diapositiva think-cell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5" y="1040804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6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68572" tIns="34286" rIns="68572" bIns="34286" numCol="1" anchor="t" anchorCtr="0" compatLnSpc="1">
            <a:prstTxWarp prst="textNoShape">
              <a:avLst/>
            </a:prstTxWarp>
            <a:noAutofit/>
          </a:bodyPr>
          <a:lstStyle/>
          <a:p>
            <a:pPr defTabSz="914296"/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059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90082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2"/>
            <a:ext cx="8883225" cy="470899"/>
          </a:xfrm>
        </p:spPr>
        <p:txBody>
          <a:bodyPr/>
          <a:lstStyle>
            <a:lvl1pPr>
              <a:defRPr sz="2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522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336902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4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02731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1033869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4732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94744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2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8194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854425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16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>
            <a:off x="3307898" y="2540003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r>
              <a:rPr lang="en-US" sz="4000" dirty="0">
                <a:solidFill>
                  <a:srgbClr val="000000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2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849497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2008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88770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40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22">
                <a:defRPr/>
              </a:pPr>
              <a:endParaRPr lang="en-US" sz="140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296"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1" y="6269091"/>
              <a:ext cx="9030915" cy="29084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2468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79384"/>
              </p:ext>
            </p:extLst>
          </p:nvPr>
        </p:nvGraphicFramePr>
        <p:xfrm>
          <a:off x="1294" y="1591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4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4" y="1591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28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46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3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861" indent="0" algn="ctr">
              <a:buNone/>
              <a:defRPr sz="1500"/>
            </a:lvl2pPr>
            <a:lvl3pPr marL="685722" indent="0" algn="ctr">
              <a:buNone/>
              <a:defRPr sz="1400"/>
            </a:lvl3pPr>
            <a:lvl4pPr marL="1028583" indent="0" algn="ctr">
              <a:buNone/>
              <a:defRPr sz="1200"/>
            </a:lvl4pPr>
            <a:lvl5pPr marL="1371445" indent="0" algn="ctr">
              <a:buNone/>
              <a:defRPr sz="1200"/>
            </a:lvl5pPr>
            <a:lvl6pPr marL="1714305" indent="0" algn="ctr">
              <a:buNone/>
              <a:defRPr sz="1200"/>
            </a:lvl6pPr>
            <a:lvl7pPr marL="2057166" indent="0" algn="ctr">
              <a:buNone/>
              <a:defRPr sz="1200"/>
            </a:lvl7pPr>
            <a:lvl8pPr marL="2400027" indent="0" algn="ctr">
              <a:buNone/>
              <a:defRPr sz="1200"/>
            </a:lvl8pPr>
            <a:lvl9pPr marL="2742888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0" y="442916"/>
            <a:ext cx="1355626" cy="31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938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00151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8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Slide Number"/>
          <p:cNvSpPr txBox="1">
            <a:spLocks noChangeArrowheads="1"/>
          </p:cNvSpPr>
          <p:nvPr userDrawn="1"/>
        </p:nvSpPr>
        <p:spPr bwMode="auto">
          <a:xfrm>
            <a:off x="9385301" y="6718431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70" tIns="45628" rIns="91270" bIns="45628"/>
          <a:lstStyle/>
          <a:p>
            <a:pPr defTabSz="912448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Title 7"/>
          <p:cNvSpPr>
            <a:spLocks noGrp="1"/>
          </p:cNvSpPr>
          <p:nvPr>
            <p:ph type="title" hasCustomPrompt="1"/>
          </p:nvPr>
        </p:nvSpPr>
        <p:spPr>
          <a:xfrm>
            <a:off x="477807" y="149415"/>
            <a:ext cx="8691727" cy="684212"/>
          </a:xfrm>
        </p:spPr>
        <p:txBody>
          <a:bodyPr/>
          <a:lstStyle>
            <a:lvl1pPr>
              <a:defRPr sz="23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269413" y="357"/>
            <a:ext cx="640878" cy="58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765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3240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86841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70" tIns="45628" rIns="91270" bIns="45628" anchor="ctr"/>
          <a:lstStyle/>
          <a:p>
            <a:pPr defTabSz="914296"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defTabSz="914296"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 defTabSz="914296"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" name="Slide Number Line"/>
          <p:cNvSpPr>
            <a:spLocks noChangeShapeType="1"/>
          </p:cNvSpPr>
          <p:nvPr userDrawn="1"/>
        </p:nvSpPr>
        <p:spPr bwMode="auto">
          <a:xfrm>
            <a:off x="9269413" y="673435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4296"/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70" tIns="45628" rIns="91270" bIns="45628"/>
          <a:lstStyle/>
          <a:p>
            <a:pPr defTabSz="912448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477807" y="149415"/>
            <a:ext cx="8691727" cy="684212"/>
          </a:xfrm>
        </p:spPr>
        <p:txBody>
          <a:bodyPr/>
          <a:lstStyle>
            <a:lvl1pPr>
              <a:defRPr sz="23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1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7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0949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69919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2" tIns="34286" rIns="68572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11875" y="2158993"/>
            <a:ext cx="3042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861" indent="0" algn="ctr">
              <a:buNone/>
              <a:defRPr sz="1500"/>
            </a:lvl2pPr>
            <a:lvl3pPr marL="685722" indent="0" algn="ctr">
              <a:buNone/>
              <a:defRPr sz="1400"/>
            </a:lvl3pPr>
            <a:lvl4pPr marL="1028583" indent="0" algn="ctr">
              <a:buNone/>
              <a:defRPr sz="1200"/>
            </a:lvl4pPr>
            <a:lvl5pPr marL="1371445" indent="0" algn="ctr">
              <a:buNone/>
              <a:defRPr sz="1200"/>
            </a:lvl5pPr>
            <a:lvl6pPr marL="1714305" indent="0" algn="ctr">
              <a:buNone/>
              <a:defRPr sz="1200"/>
            </a:lvl6pPr>
            <a:lvl7pPr marL="2057166" indent="0" algn="ctr">
              <a:buNone/>
              <a:defRPr sz="1200"/>
            </a:lvl7pPr>
            <a:lvl8pPr marL="2400027" indent="0" algn="ctr">
              <a:buNone/>
              <a:defRPr sz="1200"/>
            </a:lvl8pPr>
            <a:lvl9pPr marL="2742888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11875" y="1227050"/>
            <a:ext cx="3042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02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07494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3"/>
            <a:ext cx="7816649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289" tIns="274289" rIns="274289" bIns="137145"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040568" y="1424086"/>
            <a:ext cx="773274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177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252971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11876" y="3680016"/>
            <a:ext cx="939135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547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26126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0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5" y="0"/>
            <a:ext cx="3314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681105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6868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92750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5" y="0"/>
            <a:ext cx="582721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80" y="622806"/>
            <a:ext cx="5099680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84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37890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5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336268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73403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6"/>
            <a:ext cx="658253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9009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676100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0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000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75086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8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49" y="0"/>
            <a:ext cx="33877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681105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45441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2304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1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2" y="0"/>
            <a:ext cx="4956232" cy="6858000"/>
          </a:xfrm>
          <a:prstGeom prst="rect">
            <a:avLst/>
          </a:prstGeom>
          <a:noFill/>
        </p:spPr>
        <p:txBody>
          <a:bodyPr lIns="914296" tIns="914296" rIns="914296" bIns="914296"/>
          <a:lstStyle>
            <a:lvl1pPr algn="ctr">
              <a:defRPr sz="14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03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2279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41676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2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08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6" y="0"/>
            <a:ext cx="3552229" cy="6858000"/>
          </a:xfrm>
          <a:prstGeom prst="rect">
            <a:avLst/>
          </a:prstGeom>
          <a:noFill/>
        </p:spPr>
        <p:txBody>
          <a:bodyPr lIns="182859" tIns="914296" rIns="182859" bIns="914296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636" y="1785600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8338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887763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2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2764209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1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728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90870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7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11880" y="2764209"/>
            <a:ext cx="2013894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2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144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014575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0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6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395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872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889973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2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4" y="3416303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4020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1455406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4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622806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07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980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63361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7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0" y="622806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1" y="3407809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8370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217637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9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6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07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603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215718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>
            <a:off x="3307900" y="2540008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dirty="0">
                <a:solidFill>
                  <a:schemeClr val="tx1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3509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051640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2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6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51203"/>
            <a:ext cx="1204166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199" y="3407809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05484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32591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4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38"/>
            <a:ext cx="8883225" cy="1606551"/>
          </a:xfr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77032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402825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6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38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722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63344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5641738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2" name="Diapositiva think-cell" r:id="rId4" imgW="384" imgH="384" progId="TCLayout.ActiveDocument.1">
                  <p:embed/>
                </p:oleObj>
              </mc:Choice>
              <mc:Fallback>
                <p:oleObj name="Diapositiva think-cell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5" y="1040804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6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72" tIns="34286" rIns="68572" bIns="34286" numCol="1" anchor="t" anchorCtr="0" compatLnSpc="1">
            <a:prstTxWarp prst="textNoShape">
              <a:avLst/>
            </a:prstTxWarp>
            <a:noAutofit/>
          </a:bodyPr>
          <a:lstStyle/>
          <a:p>
            <a:pPr defTabSz="914296"/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296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077740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1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06"/>
            <a:ext cx="8883225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430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465658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40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6" y="2806335"/>
            <a:ext cx="2290763" cy="130497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296">
              <a:lnSpc>
                <a:spcPct val="106000"/>
              </a:lnSpc>
              <a:spcAft>
                <a:spcPts val="524"/>
              </a:spcAft>
            </a:pPr>
            <a:r>
              <a:rPr lang="en-US" sz="4000" dirty="0">
                <a:solidFill>
                  <a:srgbClr val="000000"/>
                </a:solidFill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1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849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1363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64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121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75783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8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defTabSz="914296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58459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983104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12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147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023505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36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3307898" y="2540003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/>
            <a:r>
              <a:rPr lang="en-US" sz="4000" dirty="0">
                <a:solidFill>
                  <a:srgbClr val="000000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7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578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813291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248316"/>
              <a:ext cx="9030915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475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980206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60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22">
                <a:defRPr/>
              </a:pPr>
              <a:endParaRPr lang="en-US" sz="140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6"/>
              <a:endParaRPr lang="en-US" sz="110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6"/>
                <a:endParaRPr lang="en-US" sz="110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296"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1" y="6269091"/>
              <a:ext cx="9030915" cy="29084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 defTabSz="685722">
                <a:lnSpc>
                  <a:spcPct val="90000"/>
                </a:lnSpc>
                <a:defRPr/>
              </a:pPr>
              <a:r>
                <a:rPr lang="en-US" sz="7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737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228489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84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127873" y="4691189"/>
            <a:ext cx="75508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6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45" tIns="134985" rIns="137145" bIns="13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96"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511875" y="907205"/>
            <a:ext cx="2802150" cy="92223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8948" tIns="35096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endParaRPr lang="en-US" sz="41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15443" y="1115416"/>
            <a:ext cx="1994435" cy="691718"/>
          </a:xfrm>
          <a:prstGeom prst="rect">
            <a:avLst/>
          </a:prstGeom>
          <a:noFill/>
        </p:spPr>
        <p:txBody>
          <a:bodyPr wrap="none" lIns="91429" tIns="45715" rIns="91429" bIns="45715" rtlCol="0">
            <a:spAutoFit/>
          </a:bodyPr>
          <a:lstStyle/>
          <a:p>
            <a:pPr algn="ctr" defTabSz="914296">
              <a:lnSpc>
                <a:spcPct val="95000"/>
              </a:lnSpc>
            </a:pPr>
            <a:r>
              <a:rPr lang="en-US" sz="41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2672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11100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8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6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9973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537495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7" y="6450567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511880" y="622801"/>
            <a:ext cx="5841874" cy="3600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600" dirty="0">
                <a:solidFill>
                  <a:prstClr val="white"/>
                </a:solidFill>
                <a:latin typeface="Arial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555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9590952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5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49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511881" y="3207721"/>
            <a:ext cx="1257053" cy="31854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23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16450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4568613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80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127873" y="4691189"/>
            <a:ext cx="755087" cy="9958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6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45" tIns="134985" rIns="137145" bIns="1371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96"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1875" y="907203"/>
            <a:ext cx="2802150" cy="922235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8948" tIns="35096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endParaRPr lang="en-US" sz="4100" dirty="0">
              <a:solidFill>
                <a:srgbClr val="537BDF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15443" y="1115416"/>
            <a:ext cx="1994435" cy="691718"/>
          </a:xfrm>
          <a:prstGeom prst="rect">
            <a:avLst/>
          </a:prstGeom>
          <a:noFill/>
        </p:spPr>
        <p:txBody>
          <a:bodyPr wrap="none" lIns="91429" tIns="45715" rIns="91429" bIns="45715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defTabSz="914296"/>
            <a:r>
              <a:rPr lang="en-US" sz="4100" dirty="0">
                <a:solidFill>
                  <a:srgbClr val="537BDF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47649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541777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04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6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4402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950468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28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511880" y="622801"/>
            <a:ext cx="5841874" cy="3600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600" dirty="0">
                <a:solidFill>
                  <a:srgbClr val="537BDF"/>
                </a:solidFill>
                <a:latin typeface="Arial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447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6249740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5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49" y="0"/>
            <a:ext cx="33877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t"/>
          <a:lstStyle/>
          <a:p>
            <a:pPr defTabSz="914296"/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11880" y="3262150"/>
            <a:ext cx="943350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8869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9823566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7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9" tIns="45715" rIns="91429" bIns="45715" rtlCol="0" anchor="t">
            <a:noAutofit/>
          </a:bodyPr>
          <a:lstStyle/>
          <a:p>
            <a:pPr defTabSz="914296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6" y="2790048"/>
            <a:ext cx="2290763" cy="133754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296">
              <a:lnSpc>
                <a:spcPct val="106000"/>
              </a:lnSpc>
              <a:spcAft>
                <a:spcPts val="524"/>
              </a:spcAft>
            </a:pPr>
            <a:r>
              <a:rPr lang="en-US" sz="4100" dirty="0">
                <a:solidFill>
                  <a:srgbClr val="193989"/>
                </a:solidFill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2" y="3936348"/>
            <a:ext cx="5133975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296">
              <a:lnSpc>
                <a:spcPct val="90000"/>
              </a:lnSpc>
              <a:spcAft>
                <a:spcPts val="449"/>
              </a:spcAft>
            </a:pPr>
            <a:r>
              <a:rPr lang="en-US" sz="500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7" y="6451203"/>
            <a:ext cx="30956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722">
              <a:defRPr/>
            </a:pPr>
            <a:fld id="{DFCF27A5-1A5B-48D3-A060-2758FFBB1ADD}" type="slidenum">
              <a:rPr lang="en-US" sz="700" smtClean="0">
                <a:solidFill>
                  <a:prstClr val="white"/>
                </a:solidFill>
                <a:sym typeface="+mn-lt"/>
              </a:rPr>
              <a:pPr algn="r" defTabSz="685722">
                <a:defRPr/>
              </a:pPr>
              <a:t>‹N›</a:t>
            </a:fld>
            <a:endParaRPr lang="en-US" sz="7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1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795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068450"/>
              </p:ext>
            </p:extLst>
          </p:nvPr>
        </p:nvGraphicFramePr>
        <p:xfrm>
          <a:off x="1294" y="1590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4" y="1590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51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8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0" y="442922"/>
            <a:ext cx="1355626" cy="31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355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2" y="2130481"/>
            <a:ext cx="84201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005" indent="0" algn="ctr">
              <a:buNone/>
              <a:defRPr/>
            </a:lvl2pPr>
            <a:lvl3pPr marL="912014" indent="0" algn="ctr">
              <a:buNone/>
              <a:defRPr/>
            </a:lvl3pPr>
            <a:lvl4pPr marL="1368014" indent="0" algn="ctr">
              <a:buNone/>
              <a:defRPr/>
            </a:lvl4pPr>
            <a:lvl5pPr marL="1824023" indent="0" algn="ctr">
              <a:buNone/>
              <a:defRPr/>
            </a:lvl5pPr>
            <a:lvl6pPr marL="2280028" indent="0" algn="ctr">
              <a:buNone/>
              <a:defRPr/>
            </a:lvl6pPr>
            <a:lvl7pPr marL="2736038" indent="0" algn="ctr">
              <a:buNone/>
              <a:defRPr/>
            </a:lvl7pPr>
            <a:lvl8pPr marL="3192037" indent="0" algn="ctr">
              <a:buNone/>
              <a:defRPr/>
            </a:lvl8pPr>
            <a:lvl9pPr marL="3648043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2301913" y="3716337"/>
            <a:ext cx="8424862" cy="476251"/>
          </a:xfrm>
          <a:prstGeom prst="rect">
            <a:avLst/>
          </a:prstGeom>
        </p:spPr>
        <p:txBody>
          <a:bodyPr lIns="107031" tIns="53502" rIns="107031" bIns="53502"/>
          <a:lstStyle>
            <a:lvl1pPr>
              <a:defRPr/>
            </a:lvl1pPr>
          </a:lstStyle>
          <a:p>
            <a:pPr defTabSz="914296">
              <a:defRPr/>
            </a:pPr>
            <a:fld id="{9FAC80C6-9453-40BF-9CD4-6C5C31047F00}" type="datetimeFigureOut">
              <a:rPr lang="it-IT">
                <a:solidFill>
                  <a:srgbClr val="000000"/>
                </a:solidFill>
              </a:rPr>
              <a:pPr defTabSz="914296">
                <a:defRPr/>
              </a:pPr>
              <a:t>12/10/2020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74049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2301913" y="3716337"/>
            <a:ext cx="8424862" cy="476251"/>
          </a:xfrm>
          <a:prstGeom prst="rect">
            <a:avLst/>
          </a:prstGeom>
        </p:spPr>
        <p:txBody>
          <a:bodyPr lIns="107031" tIns="53502" rIns="107031" bIns="53502"/>
          <a:lstStyle>
            <a:lvl1pPr>
              <a:defRPr/>
            </a:lvl1pPr>
          </a:lstStyle>
          <a:p>
            <a:pPr defTabSz="914296">
              <a:defRPr/>
            </a:pPr>
            <a:fld id="{0831EF7C-05D5-46D1-B739-1948496A4ABB}" type="datetimeFigureOut">
              <a:rPr lang="it-IT">
                <a:solidFill>
                  <a:srgbClr val="000000"/>
                </a:solidFill>
              </a:rPr>
              <a:pPr defTabSz="914296">
                <a:defRPr/>
              </a:pPr>
              <a:t>12/10/2020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18887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2" y="2130527"/>
            <a:ext cx="84201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2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5296129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254" y="1933675"/>
            <a:ext cx="8793163" cy="1370247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810718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40" y="4407002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40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94078357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5245609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2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166468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Placeholder 1"/>
          <p:cNvSpPr>
            <a:spLocks noGrp="1"/>
          </p:cNvSpPr>
          <p:nvPr>
            <p:ph type="title"/>
          </p:nvPr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60491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267612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501" y="273151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202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Title Placeholder 1"/>
          <p:cNvSpPr txBox="1">
            <a:spLocks/>
          </p:cNvSpPr>
          <p:nvPr userDrawn="1"/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kern="0">
                <a:solidFill>
                  <a:srgbClr val="000000"/>
                </a:solidFill>
              </a:rPr>
              <a:t>Click to edit Master title style</a:t>
            </a:r>
            <a:endParaRPr lang="en-US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224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488590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4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477809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b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700">
                <a:latin typeface="+mn-lt"/>
                <a:ea typeface="+mn-ea"/>
                <a:cs typeface="+mn-cs"/>
                <a:sym typeface="+mn-lt"/>
              </a:rPr>
              <a:pPr>
                <a:defRPr/>
              </a:pPr>
              <a:t>‹N›</a:t>
            </a:fld>
            <a:endParaRPr lang="en-US" sz="7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Slide Number Line"/>
          <p:cNvSpPr>
            <a:spLocks noChangeShapeType="1"/>
          </p:cNvSpPr>
          <p:nvPr userDrawn="1"/>
        </p:nvSpPr>
        <p:spPr bwMode="auto">
          <a:xfrm>
            <a:off x="9269413" y="6734363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marL="0" marR="0" lvl="0" indent="0" defTabSz="9125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230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9549176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b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Slide Number"/>
          <p:cNvSpPr txBox="1">
            <a:spLocks noChangeArrowheads="1"/>
          </p:cNvSpPr>
          <p:nvPr userDrawn="1"/>
        </p:nvSpPr>
        <p:spPr bwMode="auto">
          <a:xfrm>
            <a:off x="9385301" y="6718436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900">
                <a:latin typeface="+mn-lt"/>
                <a:ea typeface="+mn-ea"/>
                <a:cs typeface="+mn-cs"/>
                <a:sym typeface="+mn-lt"/>
              </a:rPr>
              <a:pPr>
                <a:defRPr/>
              </a:pPr>
              <a:t>‹N›</a:t>
            </a:fld>
            <a:endParaRPr lang="en-US" sz="7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Slide Number Line"/>
          <p:cNvSpPr>
            <a:spLocks noChangeShapeType="1"/>
          </p:cNvSpPr>
          <p:nvPr userDrawn="1"/>
        </p:nvSpPr>
        <p:spPr bwMode="auto">
          <a:xfrm>
            <a:off x="9269413" y="6734363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marL="0" marR="0" lvl="0" indent="0" defTabSz="9125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7"/>
          <p:cNvSpPr>
            <a:spLocks noGrp="1"/>
          </p:cNvSpPr>
          <p:nvPr>
            <p:ph type="title" hasCustomPrompt="1"/>
          </p:nvPr>
        </p:nvSpPr>
        <p:spPr>
          <a:xfrm>
            <a:off x="477809" y="149415"/>
            <a:ext cx="8691727" cy="684212"/>
          </a:xfrm>
        </p:spPr>
        <p:txBody>
          <a:bodyPr/>
          <a:lstStyle>
            <a:lvl1pPr>
              <a:defRPr sz="24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269413" y="361"/>
            <a:ext cx="640878" cy="58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145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3240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579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87684126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675"/>
            <a:ext cx="5505866" cy="1127125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757312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le Placeholder 1"/>
          <p:cNvSpPr txBox="1">
            <a:spLocks/>
          </p:cNvSpPr>
          <p:nvPr userDrawn="1"/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kern="0">
                <a:solidFill>
                  <a:srgbClr val="000000"/>
                </a:solidFill>
              </a:rPr>
              <a:t>Click to edit Master title style</a:t>
            </a:r>
            <a:endParaRPr lang="en-US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84645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6" y="1001713"/>
            <a:ext cx="8535989" cy="68421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6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  <p:sp>
        <p:nvSpPr>
          <p:cNvPr id="4" name="Title Placeholder 1"/>
          <p:cNvSpPr txBox="1">
            <a:spLocks/>
          </p:cNvSpPr>
          <p:nvPr userDrawn="1"/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kern="0">
                <a:solidFill>
                  <a:srgbClr val="000000"/>
                </a:solidFill>
              </a:rPr>
              <a:t>Click to edit Master title style</a:t>
            </a:r>
            <a:endParaRPr lang="en-US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53084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6" y="1001713"/>
            <a:ext cx="8535989" cy="68421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733426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  <p:sp>
        <p:nvSpPr>
          <p:cNvPr id="4" name="Title Placeholder 1"/>
          <p:cNvSpPr txBox="1">
            <a:spLocks/>
          </p:cNvSpPr>
          <p:nvPr userDrawn="1"/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kern="0">
                <a:solidFill>
                  <a:srgbClr val="000000"/>
                </a:solidFill>
              </a:rPr>
              <a:t>Click to edit Master title style</a:t>
            </a:r>
            <a:endParaRPr lang="en-US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60366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6" y="1001713"/>
            <a:ext cx="8535989" cy="68421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733431" y="1933674"/>
            <a:ext cx="4191000" cy="1613519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674"/>
            <a:ext cx="4192588" cy="1613519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le Placeholder 1"/>
          <p:cNvSpPr txBox="1">
            <a:spLocks/>
          </p:cNvSpPr>
          <p:nvPr userDrawn="1"/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kern="0">
                <a:solidFill>
                  <a:srgbClr val="000000"/>
                </a:solidFill>
              </a:rPr>
              <a:t>Click to edit Master title style</a:t>
            </a:r>
            <a:endParaRPr lang="en-US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13337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Line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546554"/>
            <a:ext cx="9676286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5306" tIns="32653" rIns="65306" bIns="32653"/>
          <a:lstStyle/>
          <a:p>
            <a:endParaRPr lang="it-IT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" name="Connettore 1 3"/>
          <p:cNvCxnSpPr/>
          <p:nvPr userDrawn="1"/>
        </p:nvCxnSpPr>
        <p:spPr>
          <a:xfrm>
            <a:off x="83586" y="6463393"/>
            <a:ext cx="959275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314866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58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4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693A83-2A3F-4446-8C5A-667BE7DC6CF9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75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59" name="Diapositiva think-cell" r:id="rId8" imgW="216" imgH="216" progId="">
                  <p:embed/>
                </p:oleObj>
              </mc:Choice>
              <mc:Fallback>
                <p:oleObj name="Diapositiva think-cell" r:id="rId8" imgW="216" imgH="216" progId="">
                  <p:embed/>
                  <p:pic>
                    <p:nvPicPr>
                      <p:cNvPr id="10" name="Object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439"/>
            <a:ext cx="84201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72934653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14378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2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4" name="Object 317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DA5C015-C892-4508-BD16-C67F09B23244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288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3" name="Diapositiva think-cell" r:id="rId8" imgW="216" imgH="216" progId="TCLayout.ActiveDocument.1">
                  <p:embed/>
                </p:oleObj>
              </mc:Choice>
              <mc:Fallback>
                <p:oleObj name="Diapositiva think-cell" r:id="rId8" imgW="216" imgH="216" progId="TCLayout.ActiveDocument.1">
                  <p:embed/>
                  <p:pic>
                    <p:nvPicPr>
                      <p:cNvPr id="10" name="Object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254" y="1933587"/>
            <a:ext cx="8793163" cy="1370247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15545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14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7916247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5355091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b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700">
                <a:latin typeface="+mn-lt"/>
                <a:ea typeface="+mn-ea"/>
                <a:cs typeface="+mn-cs"/>
                <a:sym typeface="+mn-lt"/>
              </a:rPr>
              <a:pPr>
                <a:defRPr/>
              </a:pPr>
              <a:t>‹N›</a:t>
            </a:fld>
            <a:endParaRPr lang="en-US" sz="7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Line"/>
          <p:cNvSpPr>
            <a:spLocks noChangeShapeType="1"/>
          </p:cNvSpPr>
          <p:nvPr userDrawn="1"/>
        </p:nvSpPr>
        <p:spPr bwMode="auto">
          <a:xfrm>
            <a:off x="9269413" y="6734363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marL="0" marR="0" lvl="0" indent="0" defTabSz="9125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477809" y="149415"/>
            <a:ext cx="8691727" cy="684212"/>
          </a:xfrm>
        </p:spPr>
        <p:txBody>
          <a:bodyPr/>
          <a:lstStyle>
            <a:lvl1pPr>
              <a:defRPr sz="24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4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7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6151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5288010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383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383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91880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17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1523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06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3" name="Object 317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085543-B2F0-4D9D-9EDD-36A73ADC2BA5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86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07" name="Diapositiva think-cell" r:id="rId8" imgW="216" imgH="216" progId="TCLayout.ActiveDocument.1">
                  <p:embed/>
                </p:oleObj>
              </mc:Choice>
              <mc:Fallback>
                <p:oleObj name="Diapositiva think-cell" r:id="rId8" imgW="216" imgH="216" progId="TCLayout.ActiveDocument.1">
                  <p:embed/>
                  <p:pic>
                    <p:nvPicPr>
                      <p:cNvPr id="9" name="Object 2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983694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1335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20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5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C0773DA-1281-46E3-AA61-BE9D7662EC45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5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063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5" y="1435114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086739184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91589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  <a:endParaRPr lang="it-IT" noProof="0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6161314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587"/>
            <a:ext cx="5505866" cy="1127125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32744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44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4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A7E784D-0B58-4767-AE91-84744486083C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68832916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68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4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6D56BBE-1B4E-4250-A2B5-37B728ED0BC2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r>
              <a:rPr lang="it-IT" noProof="0"/>
              <a:t>Fare clic sull'icona per inserire una tabella</a:t>
            </a:r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136319815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092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4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73B9055-05AB-462A-AF9F-3EE003BEBD7A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r>
              <a:rPr lang="it-IT" noProof="0"/>
              <a:t>Fare clic sull'icona per inserire un grafico</a:t>
            </a:r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233197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61404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11875" y="2158997"/>
            <a:ext cx="3042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11875" y="1227055"/>
            <a:ext cx="3042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368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16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5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54B8E0A-9BCD-48A2-9F6A-0A51470BE19D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733431" y="1933586"/>
            <a:ext cx="4191000" cy="1613519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86"/>
            <a:ext cx="4192588" cy="1613519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06500531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40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2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CCBCA0F-B358-47AE-883F-CE02D8BE6D48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506413" y="6688148"/>
            <a:ext cx="2311400" cy="179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000" b="1">
                <a:cs typeface="Arial" pitchFamily="34" charset="0"/>
              </a:rPr>
              <a:t>   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429754" y="6688148"/>
            <a:ext cx="477838" cy="179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7CE80B-12C9-4598-AE01-548DB7FA2D8A}" type="slidenum">
              <a:rPr lang="it-IT" sz="1000" b="1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sz="1000" b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484788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64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2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E93DAED-6FA2-4EAD-969E-B4AA49FB288E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Header Line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0" y="546100"/>
            <a:ext cx="9675813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5306" tIns="32653" rIns="65306" bIns="3265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Connettore 1 8"/>
          <p:cNvCxnSpPr/>
          <p:nvPr userDrawn="1"/>
        </p:nvCxnSpPr>
        <p:spPr>
          <a:xfrm>
            <a:off x="84138" y="6462713"/>
            <a:ext cx="95916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9911066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98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2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FB42C87-2EF6-4B6E-A87D-81D41DC19405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49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99" name="Diapositiva think-cell" r:id="rId8" imgW="216" imgH="216" progId="">
                  <p:embed/>
                </p:oleObj>
              </mc:Choice>
              <mc:Fallback>
                <p:oleObj name="Diapositiva think-cell" r:id="rId8" imgW="216" imgH="216" progId="">
                  <p:embed/>
                  <p:pic>
                    <p:nvPicPr>
                      <p:cNvPr id="8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696051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5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87182"/>
              </p:ext>
            </p:extLst>
          </p:nvPr>
        </p:nvGraphicFramePr>
        <p:xfrm>
          <a:off x="1294" y="1590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13" name="Diapositiva think-cell" r:id="rId6" imgW="384" imgH="384" progId="TCLayout.ActiveDocument.1">
                  <p:embed/>
                </p:oleObj>
              </mc:Choice>
              <mc:Fallback>
                <p:oleObj name="Diapositiva think-cell" r:id="rId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4" y="1590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51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8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3" y="442922"/>
            <a:ext cx="1951626" cy="45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819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496390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37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7809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Slide Number Line"/>
          <p:cNvSpPr>
            <a:spLocks noChangeShapeType="1"/>
          </p:cNvSpPr>
          <p:nvPr userDrawn="1"/>
        </p:nvSpPr>
        <p:spPr bwMode="auto">
          <a:xfrm>
            <a:off x="9269413" y="6734363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defTabSz="912552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513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97075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61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4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477809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Slide Number Line"/>
          <p:cNvSpPr>
            <a:spLocks noChangeShapeType="1"/>
          </p:cNvSpPr>
          <p:nvPr userDrawn="1"/>
        </p:nvSpPr>
        <p:spPr bwMode="auto">
          <a:xfrm>
            <a:off x="9269413" y="6734363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defTabSz="912552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1579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93261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85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11875" y="1544280"/>
            <a:ext cx="2805075" cy="149579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7319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54556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09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8"/>
            <a:ext cx="7816649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6976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3395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33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02855" y="3680016"/>
            <a:ext cx="940574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81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6057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8"/>
            <a:ext cx="7816649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040569" y="1424085"/>
            <a:ext cx="773274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8582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85070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57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6" y="0"/>
            <a:ext cx="3314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3121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742710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81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6" y="0"/>
            <a:ext cx="582721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9"/>
            <a:ext cx="508365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9324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988028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05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1" y="0"/>
            <a:ext cx="33877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061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27281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29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2" y="0"/>
            <a:ext cx="33877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3" y="0"/>
            <a:ext cx="495623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9722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012838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53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10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8" y="0"/>
            <a:ext cx="3552229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4" y="3929414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804651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960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20941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77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2764213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7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470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857433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01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2764213"/>
            <a:ext cx="2013894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7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0291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439365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25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400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540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12806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049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6" y="3416302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3538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214905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073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622809"/>
            <a:ext cx="3797338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12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9447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620476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11876" y="3680016"/>
            <a:ext cx="939135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97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73530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097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622809"/>
            <a:ext cx="3797338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3" y="3407813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5074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862324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21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9"/>
            <a:ext cx="508365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12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70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652568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45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9"/>
            <a:ext cx="508365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201" y="3407813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58964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4954934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69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2"/>
            <a:ext cx="8883225" cy="1606551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9914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9636871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93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2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299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0974061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17" name="Diapositiva think-cell" r:id="rId4" imgW="324" imgH="324" progId="TCLayout.ActiveDocument.1">
                  <p:embed/>
                </p:oleObj>
              </mc:Choice>
              <mc:Fallback>
                <p:oleObj name="Diapositiva think-cell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7" y="1040806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0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13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4880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294621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41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2"/>
            <a:ext cx="8883225" cy="47089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798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43756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65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388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361001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289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2128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933150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13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3295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96202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6" y="0"/>
            <a:ext cx="3314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0387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0474071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37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>
            <a:off x="3307900" y="2540008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dirty="0">
                <a:solidFill>
                  <a:srgbClr val="000000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153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2433564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361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248316"/>
              <a:ext cx="9030915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40516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475929"/>
              </p:ext>
            </p:extLst>
          </p:nvPr>
        </p:nvGraphicFramePr>
        <p:xfrm>
          <a:off x="1294" y="1590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385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4" y="1590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51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8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0" y="442922"/>
            <a:ext cx="1355626" cy="31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4312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18114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09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Slide Number"/>
          <p:cNvSpPr txBox="1">
            <a:spLocks noChangeArrowheads="1"/>
          </p:cNvSpPr>
          <p:nvPr userDrawn="1"/>
        </p:nvSpPr>
        <p:spPr bwMode="auto">
          <a:xfrm>
            <a:off x="9385301" y="6718436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>
                <a:solidFill>
                  <a:srgbClr val="000000"/>
                </a:solidFill>
                <a:sym typeface="+mn-lt"/>
              </a:rPr>
              <a:pPr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Slide Number Line"/>
          <p:cNvSpPr>
            <a:spLocks noChangeShapeType="1"/>
          </p:cNvSpPr>
          <p:nvPr userDrawn="1"/>
        </p:nvSpPr>
        <p:spPr bwMode="auto">
          <a:xfrm>
            <a:off x="9269413" y="6734363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defTabSz="912552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Title 7"/>
          <p:cNvSpPr>
            <a:spLocks noGrp="1"/>
          </p:cNvSpPr>
          <p:nvPr>
            <p:ph type="title" hasCustomPrompt="1"/>
          </p:nvPr>
        </p:nvSpPr>
        <p:spPr>
          <a:xfrm>
            <a:off x="477809" y="149415"/>
            <a:ext cx="8691727" cy="684212"/>
          </a:xfrm>
        </p:spPr>
        <p:txBody>
          <a:bodyPr/>
          <a:lstStyle>
            <a:lvl1pPr>
              <a:defRPr sz="24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269413" y="361"/>
            <a:ext cx="640878" cy="58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320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324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05091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33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" name="Slide Number Line"/>
          <p:cNvSpPr>
            <a:spLocks noChangeShapeType="1"/>
          </p:cNvSpPr>
          <p:nvPr userDrawn="1"/>
        </p:nvSpPr>
        <p:spPr bwMode="auto">
          <a:xfrm>
            <a:off x="9269413" y="6734363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defTabSz="912552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477809" y="149415"/>
            <a:ext cx="8691727" cy="684212"/>
          </a:xfrm>
        </p:spPr>
        <p:txBody>
          <a:bodyPr/>
          <a:lstStyle>
            <a:lvl1pPr>
              <a:defRPr sz="24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4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7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712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9991765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57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11875" y="2158997"/>
            <a:ext cx="3042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11875" y="1227055"/>
            <a:ext cx="3042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1915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55192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481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8"/>
            <a:ext cx="7816649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040569" y="1424085"/>
            <a:ext cx="773274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532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32005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05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11876" y="3680016"/>
            <a:ext cx="939135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449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382725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29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6" y="0"/>
            <a:ext cx="3314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4401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29247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553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6" y="0"/>
            <a:ext cx="582721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82" y="622810"/>
            <a:ext cx="5099680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64249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412635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6" y="0"/>
            <a:ext cx="582721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82" y="622810"/>
            <a:ext cx="5099680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5332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84590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577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336269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73403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10"/>
            <a:ext cx="658253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3593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66276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01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1" y="0"/>
            <a:ext cx="33877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62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837425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25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2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3" y="0"/>
            <a:ext cx="495623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19349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045146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49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10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8" y="0"/>
            <a:ext cx="3552229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636" y="1785600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647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775308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73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2764213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7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004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51440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97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764213"/>
            <a:ext cx="2013894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7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879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276521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21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400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362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3537785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45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6" y="3416302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4435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967380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769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622810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12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148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851007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793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622810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3" y="3407813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2666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965090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336269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73403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10"/>
            <a:ext cx="658253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1543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0434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17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10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12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60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65805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41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10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201" y="3407813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7950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93416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865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2"/>
            <a:ext cx="8883225" cy="1606551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4108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8098544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89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2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819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186498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13" name="Diapositiva think-cell" r:id="rId4" imgW="384" imgH="384" progId="TCLayout.ActiveDocument.1">
                  <p:embed/>
                </p:oleObj>
              </mc:Choice>
              <mc:Fallback>
                <p:oleObj name="Diapositiva think-cell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7" y="1040806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0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13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74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1541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37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10"/>
            <a:ext cx="8883225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2412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36788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61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8" y="2806340"/>
            <a:ext cx="2290763" cy="130497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525"/>
              </a:spcAft>
            </a:pPr>
            <a:r>
              <a:rPr lang="en-US" sz="4000" dirty="0">
                <a:solidFill>
                  <a:srgbClr val="000000"/>
                </a:solidFill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6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2709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17615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85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723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41616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09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6449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4304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33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64179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805627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1" y="0"/>
            <a:ext cx="33877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735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749723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57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3307900" y="2540008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dirty="0">
                <a:solidFill>
                  <a:srgbClr val="000000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644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30959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81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248316"/>
              <a:ext cx="9030915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6407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821864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05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127875" y="4691195"/>
            <a:ext cx="75508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511875" y="907209"/>
            <a:ext cx="280215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25856" y="1115416"/>
            <a:ext cx="197361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405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7711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622986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29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1198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098341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53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511882" y="622800"/>
            <a:ext cx="5841874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prstClr val="white"/>
                </a:solidFill>
                <a:latin typeface="Arial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213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071444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7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1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511883" y="3207725"/>
            <a:ext cx="1257053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2569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6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01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127875" y="4691195"/>
            <a:ext cx="755087" cy="9958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1875" y="907208"/>
            <a:ext cx="280215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rgbClr val="537BDF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25856" y="1115416"/>
            <a:ext cx="197361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>
                <a:solidFill>
                  <a:srgbClr val="537BDF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2152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22164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25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3172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3288115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49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511882" y="622800"/>
            <a:ext cx="5841874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rgbClr val="537BDF"/>
                </a:solidFill>
                <a:latin typeface="Arial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775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607363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273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1" y="0"/>
            <a:ext cx="33877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11880" y="3262154"/>
            <a:ext cx="943350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9059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94420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2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3" y="0"/>
            <a:ext cx="495623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607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8546675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29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8" y="2798196"/>
            <a:ext cx="2290763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525"/>
              </a:spcAft>
            </a:pPr>
            <a:r>
              <a:rPr lang="en-US" sz="4050" dirty="0">
                <a:solidFill>
                  <a:srgbClr val="193989"/>
                </a:solidFill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6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0733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284966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11875" y="1544280"/>
            <a:ext cx="2805075" cy="149579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182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695533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10" y="0"/>
            <a:ext cx="33877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8" y="0"/>
            <a:ext cx="3552229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636" y="1785600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313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197628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Diapositiva think-cell" r:id="rId5" imgW="324" imgH="324" progId="TCLayout.ActiveDocument.1">
                  <p:embed/>
                </p:oleObj>
              </mc:Choice>
              <mc:Fallback>
                <p:oleObj name="Diapositiva think-cell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2764213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7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127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21513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764213"/>
            <a:ext cx="2013894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7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7793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182481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93" y="3394400"/>
            <a:ext cx="1055092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316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863779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3" y="0"/>
            <a:ext cx="440937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1876" y="1785600"/>
            <a:ext cx="330056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907176" y="3416302"/>
            <a:ext cx="218941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0564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454059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622810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717" y="3589612"/>
            <a:ext cx="1109266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801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75649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5170382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2" y="622810"/>
            <a:ext cx="385760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623893" y="3407813"/>
            <a:ext cx="218941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44243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229744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10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900" y="3589612"/>
            <a:ext cx="1109266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116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5568194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86256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10"/>
            <a:ext cx="508177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36201" y="3407813"/>
            <a:ext cx="218941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52691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24909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2"/>
            <a:ext cx="8883225" cy="1606551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92711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16953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8"/>
            <a:ext cx="7816649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5120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906027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11875" y="625475"/>
            <a:ext cx="757809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3826342"/>
            <a:ext cx="8883225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6773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202067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Diapositiva think-cell" r:id="rId4" imgW="384" imgH="384" progId="TCLayout.ActiveDocument.1">
                  <p:embed/>
                </p:oleObj>
              </mc:Choice>
              <mc:Fallback>
                <p:oleObj name="Diapositiva think-cell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450827" y="1040806"/>
            <a:ext cx="769257" cy="814110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0"/>
            <a:ext cx="9906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13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18689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25628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1875" y="622810"/>
            <a:ext cx="8883225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49749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56529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8" y="2806340"/>
            <a:ext cx="2290763" cy="130497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6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135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565008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1519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16888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6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0272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258032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0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2429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842380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Diapositiva think-cell" r:id="rId5" imgW="384" imgH="384" progId="TCLayout.ActiveDocument.1">
                  <p:embed/>
                </p:oleObj>
              </mc:Choice>
              <mc:Fallback>
                <p:oleObj name="Diapositiva think-cell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3307900" y="2540008"/>
            <a:ext cx="3439583" cy="14054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0" dirty="0">
                <a:solidFill>
                  <a:schemeClr val="tx1"/>
                </a:solidFill>
              </a:rPr>
              <a:t>Thank You</a:t>
            </a:r>
          </a:p>
        </p:txBody>
      </p:sp>
      <p:pic>
        <p:nvPicPr>
          <p:cNvPr id="5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61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176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2612946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Diapositiva think-cell" r:id="rId4" imgW="327" imgH="327" progId="TCLayout.ActiveDocument.1">
                  <p:embed/>
                </p:oleObj>
              </mc:Choice>
              <mc:Fallback>
                <p:oleObj name="Diapositiva think-cell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88" y="-1"/>
            <a:ext cx="9907463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248316"/>
              <a:ext cx="9030915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7013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536993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2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127875" y="4691195"/>
            <a:ext cx="75508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511875" y="907209"/>
            <a:ext cx="280215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25856" y="1115416"/>
            <a:ext cx="197361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694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44715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02855" y="3680016"/>
            <a:ext cx="940574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906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61210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887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592964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0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9073899" y="6442872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511882" y="622800"/>
            <a:ext cx="5841874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230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7954917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4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1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511883" y="3207725"/>
            <a:ext cx="1257053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6639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2270331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8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127875" y="4691195"/>
            <a:ext cx="755087" cy="9958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038954" y="4691187"/>
            <a:ext cx="1275749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1875" y="907208"/>
            <a:ext cx="280215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25856" y="1115416"/>
            <a:ext cx="197361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3149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794227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44225" y="2667600"/>
            <a:ext cx="78156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9641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023465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511882" y="622800"/>
            <a:ext cx="5841874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502855" y="1206000"/>
            <a:ext cx="9405747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617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144704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0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1" y="0"/>
            <a:ext cx="33877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315621" y="-1309"/>
            <a:ext cx="6590380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11880" y="3262154"/>
            <a:ext cx="943350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7966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2217535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4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878" y="2798196"/>
            <a:ext cx="2290763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768" y="3586756"/>
            <a:ext cx="1109266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7167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9959429"/>
              </p:ext>
            </p:extLst>
          </p:nvPr>
        </p:nvGraphicFramePr>
        <p:xfrm>
          <a:off x="1725" y="159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2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59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638907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pic>
        <p:nvPicPr>
          <p:cNvPr id="3" name="Immagine 2" descr="Risultati immagini per EURO 20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5605" y="260648"/>
            <a:ext cx="352580" cy="4575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1147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3256893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6" y="0"/>
            <a:ext cx="3314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0858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0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4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693A83-2A3F-4446-8C5A-667BE7DC6CF9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75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1" name="Diapositiva think-cell" r:id="rId8" imgW="216" imgH="216" progId="">
                  <p:embed/>
                </p:oleObj>
              </mc:Choice>
              <mc:Fallback>
                <p:oleObj name="Diapositiva think-cell" r:id="rId8" imgW="216" imgH="216" progId="">
                  <p:embed/>
                  <p:pic>
                    <p:nvPicPr>
                      <p:cNvPr id="10" name="Object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439"/>
            <a:ext cx="84201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1897063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5741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4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4" name="Object 317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DA5C015-C892-4508-BD16-C67F09B23244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288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5" name="Diapositiva think-cell" r:id="rId8" imgW="216" imgH="216" progId="TCLayout.ActiveDocument.1">
                  <p:embed/>
                </p:oleObj>
              </mc:Choice>
              <mc:Fallback>
                <p:oleObj name="Diapositiva think-cell" r:id="rId8" imgW="216" imgH="216" progId="TCLayout.ActiveDocument.1">
                  <p:embed/>
                  <p:pic>
                    <p:nvPicPr>
                      <p:cNvPr id="10" name="Object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254" y="1933587"/>
            <a:ext cx="8793163" cy="1370247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88932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14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3335244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708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383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383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34859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17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21695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8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3" name="Object 317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085543-B2F0-4D9D-9EDD-36A73ADC2BA5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86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9" name="Diapositiva think-cell" r:id="rId8" imgW="216" imgH="216" progId="TCLayout.ActiveDocument.1">
                  <p:embed/>
                </p:oleObj>
              </mc:Choice>
              <mc:Fallback>
                <p:oleObj name="Diapositiva think-cell" r:id="rId8" imgW="216" imgH="216" progId="TCLayout.ActiveDocument.1">
                  <p:embed/>
                  <p:pic>
                    <p:nvPicPr>
                      <p:cNvPr id="9" name="Object 2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30322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0274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2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5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C0773DA-1281-46E3-AA61-BE9D7662EC45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5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063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5" y="1435114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405477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91589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  <a:endParaRPr lang="it-IT" noProof="0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9247473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587"/>
            <a:ext cx="5505866" cy="1127125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77679" y="149413"/>
            <a:ext cx="8691727" cy="6842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3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134587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6" y="0"/>
            <a:ext cx="582721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9"/>
            <a:ext cx="508365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9603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6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4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A7E784D-0B58-4767-AE91-84744486083C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5801160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0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4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6D56BBE-1B4E-4250-A2B5-37B728ED0BC2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r>
              <a:rPr lang="it-IT" noProof="0"/>
              <a:t>Fare clic sull'icona per inserire una tabella</a:t>
            </a:r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129289245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4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4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73B9055-05AB-462A-AF9F-3EE003BEBD7A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r>
              <a:rPr lang="it-IT" noProof="0"/>
              <a:t>Fare clic sull'icona per inserire un grafico</a:t>
            </a:r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497052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8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5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54B8E0A-9BCD-48A2-9F6A-0A51470BE19D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Placeholder 1"/>
          <p:cNvSpPr txBox="1">
            <a:spLocks/>
          </p:cNvSpPr>
          <p:nvPr userDrawn="1"/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10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733431" y="1933586"/>
            <a:ext cx="4191000" cy="1613519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86"/>
            <a:ext cx="4192588" cy="1613519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5730318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2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2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CCBCA0F-B358-47AE-883F-CE02D8BE6D48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506413" y="6688148"/>
            <a:ext cx="2311400" cy="179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000" b="1">
                <a:cs typeface="Arial" pitchFamily="34" charset="0"/>
              </a:rPr>
              <a:t>   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429754" y="6688148"/>
            <a:ext cx="477838" cy="1793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7CE80B-12C9-4598-AE01-548DB7FA2D8A}" type="slidenum">
              <a:rPr lang="it-IT" sz="1000" b="1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sz="1000" b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2583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6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2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E93DAED-6FA2-4EAD-969E-B4AA49FB288E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Header Line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0" y="546100"/>
            <a:ext cx="9675813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5306" tIns="32653" rIns="65306" bIns="3265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Connettore 1 8"/>
          <p:cNvCxnSpPr/>
          <p:nvPr userDrawn="1"/>
        </p:nvCxnSpPr>
        <p:spPr>
          <a:xfrm>
            <a:off x="84138" y="6462713"/>
            <a:ext cx="95916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587559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17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0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2" name="Object 3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FB42C87-2EF6-4B6E-A87D-81D41DC19405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Header Line"/>
          <p:cNvSpPr>
            <a:spLocks noChangeShapeType="1"/>
          </p:cNvSpPr>
          <p:nvPr userDrawn="1"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49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1" name="Diapositiva think-cell" r:id="rId8" imgW="216" imgH="216" progId="">
                  <p:embed/>
                </p:oleObj>
              </mc:Choice>
              <mc:Fallback>
                <p:oleObj name="Diapositiva think-cell" r:id="rId8" imgW="216" imgH="216" progId="">
                  <p:embed/>
                  <p:pic>
                    <p:nvPicPr>
                      <p:cNvPr id="8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100245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5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753246"/>
              </p:ext>
            </p:extLst>
          </p:nvPr>
        </p:nvGraphicFramePr>
        <p:xfrm>
          <a:off x="1294" y="1590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Diapositiva think-cell" r:id="rId6" imgW="384" imgH="384" progId="TCLayout.ActiveDocument.1">
                  <p:embed/>
                </p:oleObj>
              </mc:Choice>
              <mc:Fallback>
                <p:oleObj name="Diapositiva think-cell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4" y="1590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06509" y="1886249"/>
            <a:ext cx="7547339" cy="220315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06509" y="4869166"/>
            <a:ext cx="7547339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7" name="Picture 7" descr="ADR_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2" y="442920"/>
            <a:ext cx="1951626" cy="45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408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973989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7808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Slide Number Line"/>
          <p:cNvSpPr>
            <a:spLocks noChangeShapeType="1"/>
          </p:cNvSpPr>
          <p:nvPr userDrawn="1"/>
        </p:nvSpPr>
        <p:spPr bwMode="auto">
          <a:xfrm>
            <a:off x="9269413" y="6734361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defTabSz="912552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9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931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941621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391" y="2085634"/>
            <a:ext cx="8883714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477808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Rectangle 10"/>
          <p:cNvSpPr>
            <a:spLocks noChangeArrowheads="1"/>
          </p:cNvSpPr>
          <p:nvPr userDrawn="1"/>
        </p:nvSpPr>
        <p:spPr bwMode="auto">
          <a:xfrm>
            <a:off x="0" y="6669091"/>
            <a:ext cx="9906000" cy="215900"/>
          </a:xfrm>
          <a:prstGeom prst="rect">
            <a:avLst/>
          </a:prstGeom>
          <a:solidFill>
            <a:srgbClr val="D9E5E9"/>
          </a:solidFill>
          <a:ln>
            <a:noFill/>
          </a:ln>
        </p:spPr>
        <p:txBody>
          <a:bodyPr wrap="none" lIns="91280" tIns="45634" rIns="91280" bIns="45634" anchor="ctr"/>
          <a:lstStyle/>
          <a:p>
            <a:pPr>
              <a:lnSpc>
                <a:spcPts val="1875"/>
              </a:lnSpc>
            </a:pP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" name="Slide Number"/>
          <p:cNvSpPr txBox="1">
            <a:spLocks noChangeArrowheads="1"/>
          </p:cNvSpPr>
          <p:nvPr userDrawn="1"/>
        </p:nvSpPr>
        <p:spPr bwMode="auto">
          <a:xfrm>
            <a:off x="9385301" y="6718427"/>
            <a:ext cx="1250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 sz="700">
                <a:solidFill>
                  <a:srgbClr val="000000"/>
                </a:solidFill>
                <a:sym typeface="+mn-lt"/>
              </a:rPr>
              <a:pPr>
                <a:defRPr/>
              </a:pPr>
              <a:t>‹N›</a:t>
            </a:fld>
            <a:endParaRPr lang="en-US" sz="7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Slide Number Line"/>
          <p:cNvSpPr>
            <a:spLocks noChangeShapeType="1"/>
          </p:cNvSpPr>
          <p:nvPr userDrawn="1"/>
        </p:nvSpPr>
        <p:spPr bwMode="auto">
          <a:xfrm>
            <a:off x="9269413" y="6734361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Header Line"/>
          <p:cNvSpPr>
            <a:spLocks noChangeShapeType="1"/>
          </p:cNvSpPr>
          <p:nvPr userDrawn="1"/>
        </p:nvSpPr>
        <p:spPr bwMode="auto">
          <a:xfrm>
            <a:off x="1" y="942975"/>
            <a:ext cx="9907588" cy="0"/>
          </a:xfrm>
          <a:prstGeom prst="line">
            <a:avLst/>
          </a:prstGeom>
          <a:noFill/>
          <a:ln w="9525">
            <a:solidFill>
              <a:srgbClr val="A1BEC9">
                <a:lumMod val="40000"/>
                <a:lumOff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280" tIns="45634" rIns="91280" bIns="45634"/>
          <a:lstStyle/>
          <a:p>
            <a:pPr defTabSz="912552">
              <a:defRPr/>
            </a:pPr>
            <a:endParaRPr lang="it-IT" sz="1400" kern="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1" name="Picture 7" descr="ADR_logo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74"/>
          <a:stretch/>
        </p:blipFill>
        <p:spPr bwMode="auto">
          <a:xfrm>
            <a:off x="9452520" y="359"/>
            <a:ext cx="457771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876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237459"/>
              </p:ext>
            </p:extLst>
          </p:nvPr>
        </p:nvGraphicFramePr>
        <p:xfrm>
          <a:off x="1721" y="2126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6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1" y="0"/>
            <a:ext cx="33877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11882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4" y="3934619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9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2019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115837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38142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11875" y="1544278"/>
            <a:ext cx="2805075" cy="149579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78597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212481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43853" y="2668046"/>
            <a:ext cx="7816649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043853" y="1428131"/>
            <a:ext cx="76998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507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168957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3826800"/>
            <a:ext cx="8886150" cy="2041200"/>
          </a:xfrm>
        </p:spPr>
        <p:txBody>
          <a:bodyPr anchor="t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02855" y="3680016"/>
            <a:ext cx="940574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459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405180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302812" y="0"/>
            <a:ext cx="338772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6" y="0"/>
            <a:ext cx="3314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11881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9110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689278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822059" y="0"/>
            <a:ext cx="33877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6" y="0"/>
            <a:ext cx="582721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11875" y="622807"/>
            <a:ext cx="508365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7772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90154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0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982750" y="0"/>
            <a:ext cx="33877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11881" y="2681106"/>
            <a:ext cx="2541404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315621" y="-1309"/>
            <a:ext cx="6590380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3639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242170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4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22792" y="0"/>
            <a:ext cx="33877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949773" y="0"/>
            <a:ext cx="495623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1875" y="1785600"/>
            <a:ext cx="3565575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7582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3492661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8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20509" y="0"/>
            <a:ext cx="33877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6353383" y="0"/>
            <a:ext cx="355262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353777" y="0"/>
            <a:ext cx="3552229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3" y="3929413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11875" y="1804651"/>
            <a:ext cx="507613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6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683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447834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2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238" y="1311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62889" y="6405036"/>
            <a:ext cx="1204166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/>
                </a:solidFill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/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11881" y="2764211"/>
            <a:ext cx="201389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109" y="3590405"/>
            <a:ext cx="1109266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242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5216476"/>
              </p:ext>
            </p:extLst>
          </p:nvPr>
        </p:nvGraphicFramePr>
        <p:xfrm>
          <a:off x="1721" y="2124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6" name="Diapositiva think-cell" r:id="rId5" imgW="327" imgH="327" progId="TCLayout.ActiveDocument.1">
                  <p:embed/>
                </p:oleObj>
              </mc:Choice>
              <mc:Fallback>
                <p:oleObj name="Diapositiva think-cell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4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6"/>
            <a:ext cx="171979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32175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1881" y="2764211"/>
            <a:ext cx="2013894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073898" y="6443508"/>
            <a:ext cx="30956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 defTabSz="685800">
                <a:defRPr/>
              </a:pPr>
              <a:t>‹N›</a:t>
            </a:fld>
            <a:endParaRPr lang="en-US" sz="75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226803" y="3934618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66897" y="3402835"/>
            <a:ext cx="218941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1874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heme" Target="../theme/theme2.xml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oleObject" Target="../embeddings/oleObject69.bin"/><Relationship Id="rId5" Type="http://schemas.openxmlformats.org/officeDocument/2006/relationships/tags" Target="../tags/tag118.xml"/><Relationship Id="rId4" Type="http://schemas.openxmlformats.org/officeDocument/2006/relationships/vmlDrawing" Target="../drawings/vmlDrawing69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121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tags" Target="../tags/tag120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image" Target="../media/image16.png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79.xml"/><Relationship Id="rId19" Type="http://schemas.openxmlformats.org/officeDocument/2006/relationships/vmlDrawing" Target="../drawings/vmlDrawing71.v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oleObject" Target="../embeddings/oleObject71.bin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07.xml"/><Relationship Id="rId42" Type="http://schemas.openxmlformats.org/officeDocument/2006/relationships/slideLayout" Target="../slideLayouts/slideLayout128.xml"/><Relationship Id="rId47" Type="http://schemas.openxmlformats.org/officeDocument/2006/relationships/slideLayout" Target="../slideLayouts/slideLayout133.xml"/><Relationship Id="rId63" Type="http://schemas.openxmlformats.org/officeDocument/2006/relationships/slideLayout" Target="../slideLayouts/slideLayout149.xml"/><Relationship Id="rId68" Type="http://schemas.openxmlformats.org/officeDocument/2006/relationships/theme" Target="../theme/theme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9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slideLayout" Target="../slideLayouts/slideLayout126.xml"/><Relationship Id="rId45" Type="http://schemas.openxmlformats.org/officeDocument/2006/relationships/slideLayout" Target="../slideLayouts/slideLayout131.xml"/><Relationship Id="rId53" Type="http://schemas.openxmlformats.org/officeDocument/2006/relationships/slideLayout" Target="../slideLayouts/slideLayout139.xml"/><Relationship Id="rId58" Type="http://schemas.openxmlformats.org/officeDocument/2006/relationships/slideLayout" Target="../slideLayouts/slideLayout144.xml"/><Relationship Id="rId66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91.xml"/><Relationship Id="rId61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43" Type="http://schemas.openxmlformats.org/officeDocument/2006/relationships/slideLayout" Target="../slideLayouts/slideLayout129.xml"/><Relationship Id="rId48" Type="http://schemas.openxmlformats.org/officeDocument/2006/relationships/slideLayout" Target="../slideLayouts/slideLayout134.xml"/><Relationship Id="rId56" Type="http://schemas.openxmlformats.org/officeDocument/2006/relationships/slideLayout" Target="../slideLayouts/slideLayout142.xml"/><Relationship Id="rId64" Type="http://schemas.openxmlformats.org/officeDocument/2006/relationships/slideLayout" Target="../slideLayouts/slideLayout150.xml"/><Relationship Id="rId69" Type="http://schemas.openxmlformats.org/officeDocument/2006/relationships/vmlDrawing" Target="../drawings/vmlDrawing83.vml"/><Relationship Id="rId8" Type="http://schemas.openxmlformats.org/officeDocument/2006/relationships/slideLayout" Target="../slideLayouts/slideLayout94.xml"/><Relationship Id="rId51" Type="http://schemas.openxmlformats.org/officeDocument/2006/relationships/slideLayout" Target="../slideLayouts/slideLayout137.xml"/><Relationship Id="rId72" Type="http://schemas.openxmlformats.org/officeDocument/2006/relationships/oleObject" Target="../embeddings/oleObject87.bin"/><Relationship Id="rId3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46" Type="http://schemas.openxmlformats.org/officeDocument/2006/relationships/slideLayout" Target="../slideLayouts/slideLayout132.xml"/><Relationship Id="rId59" Type="http://schemas.openxmlformats.org/officeDocument/2006/relationships/slideLayout" Target="../slideLayouts/slideLayout145.xml"/><Relationship Id="rId67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06.xml"/><Relationship Id="rId41" Type="http://schemas.openxmlformats.org/officeDocument/2006/relationships/slideLayout" Target="../slideLayouts/slideLayout127.xml"/><Relationship Id="rId54" Type="http://schemas.openxmlformats.org/officeDocument/2006/relationships/slideLayout" Target="../slideLayouts/slideLayout140.xml"/><Relationship Id="rId62" Type="http://schemas.openxmlformats.org/officeDocument/2006/relationships/slideLayout" Target="../slideLayouts/slideLayout148.xml"/><Relationship Id="rId70" Type="http://schemas.openxmlformats.org/officeDocument/2006/relationships/tags" Target="../tags/tag13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49" Type="http://schemas.openxmlformats.org/officeDocument/2006/relationships/slideLayout" Target="../slideLayouts/slideLayout135.xml"/><Relationship Id="rId57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17.xml"/><Relationship Id="rId44" Type="http://schemas.openxmlformats.org/officeDocument/2006/relationships/slideLayout" Target="../slideLayouts/slideLayout130.xml"/><Relationship Id="rId52" Type="http://schemas.openxmlformats.org/officeDocument/2006/relationships/slideLayout" Target="../slideLayouts/slideLayout138.xml"/><Relationship Id="rId60" Type="http://schemas.openxmlformats.org/officeDocument/2006/relationships/slideLayout" Target="../slideLayouts/slideLayout146.xml"/><Relationship Id="rId65" Type="http://schemas.openxmlformats.org/officeDocument/2006/relationships/slideLayout" Target="../slideLayouts/slideLayout151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25.xml"/><Relationship Id="rId34" Type="http://schemas.openxmlformats.org/officeDocument/2006/relationships/slideLayout" Target="../slideLayouts/slideLayout120.xml"/><Relationship Id="rId50" Type="http://schemas.openxmlformats.org/officeDocument/2006/relationships/slideLayout" Target="../slideLayouts/slideLayout136.xml"/><Relationship Id="rId55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93.xml"/><Relationship Id="rId71" Type="http://schemas.openxmlformats.org/officeDocument/2006/relationships/tags" Target="../tags/tag139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74.xml"/><Relationship Id="rId42" Type="http://schemas.openxmlformats.org/officeDocument/2006/relationships/slideLayout" Target="../slideLayouts/slideLayout195.xml"/><Relationship Id="rId47" Type="http://schemas.openxmlformats.org/officeDocument/2006/relationships/slideLayout" Target="../slideLayouts/slideLayout200.xml"/><Relationship Id="rId63" Type="http://schemas.openxmlformats.org/officeDocument/2006/relationships/slideLayout" Target="../slideLayouts/slideLayout216.xml"/><Relationship Id="rId68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9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64.xml"/><Relationship Id="rId24" Type="http://schemas.openxmlformats.org/officeDocument/2006/relationships/slideLayout" Target="../slideLayouts/slideLayout177.xml"/><Relationship Id="rId32" Type="http://schemas.openxmlformats.org/officeDocument/2006/relationships/slideLayout" Target="../slideLayouts/slideLayout185.xml"/><Relationship Id="rId37" Type="http://schemas.openxmlformats.org/officeDocument/2006/relationships/slideLayout" Target="../slideLayouts/slideLayout190.xml"/><Relationship Id="rId40" Type="http://schemas.openxmlformats.org/officeDocument/2006/relationships/slideLayout" Target="../slideLayouts/slideLayout193.xml"/><Relationship Id="rId45" Type="http://schemas.openxmlformats.org/officeDocument/2006/relationships/slideLayout" Target="../slideLayouts/slideLayout198.xml"/><Relationship Id="rId53" Type="http://schemas.openxmlformats.org/officeDocument/2006/relationships/slideLayout" Target="../slideLayouts/slideLayout206.xml"/><Relationship Id="rId58" Type="http://schemas.openxmlformats.org/officeDocument/2006/relationships/slideLayout" Target="../slideLayouts/slideLayout211.xml"/><Relationship Id="rId66" Type="http://schemas.openxmlformats.org/officeDocument/2006/relationships/slideLayout" Target="../slideLayouts/slideLayout219.xml"/><Relationship Id="rId74" Type="http://schemas.openxmlformats.org/officeDocument/2006/relationships/oleObject" Target="../embeddings/oleObject155.bin"/><Relationship Id="rId5" Type="http://schemas.openxmlformats.org/officeDocument/2006/relationships/slideLayout" Target="../slideLayouts/slideLayout158.xml"/><Relationship Id="rId61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67.xml"/><Relationship Id="rId22" Type="http://schemas.openxmlformats.org/officeDocument/2006/relationships/slideLayout" Target="../slideLayouts/slideLayout175.xml"/><Relationship Id="rId27" Type="http://schemas.openxmlformats.org/officeDocument/2006/relationships/slideLayout" Target="../slideLayouts/slideLayout180.xml"/><Relationship Id="rId30" Type="http://schemas.openxmlformats.org/officeDocument/2006/relationships/slideLayout" Target="../slideLayouts/slideLayout183.xml"/><Relationship Id="rId35" Type="http://schemas.openxmlformats.org/officeDocument/2006/relationships/slideLayout" Target="../slideLayouts/slideLayout188.xml"/><Relationship Id="rId43" Type="http://schemas.openxmlformats.org/officeDocument/2006/relationships/slideLayout" Target="../slideLayouts/slideLayout196.xml"/><Relationship Id="rId48" Type="http://schemas.openxmlformats.org/officeDocument/2006/relationships/slideLayout" Target="../slideLayouts/slideLayout201.xml"/><Relationship Id="rId56" Type="http://schemas.openxmlformats.org/officeDocument/2006/relationships/slideLayout" Target="../slideLayouts/slideLayout209.xml"/><Relationship Id="rId64" Type="http://schemas.openxmlformats.org/officeDocument/2006/relationships/slideLayout" Target="../slideLayouts/slideLayout217.xml"/><Relationship Id="rId69" Type="http://schemas.openxmlformats.org/officeDocument/2006/relationships/slideLayout" Target="../slideLayouts/slideLayout222.xml"/><Relationship Id="rId8" Type="http://schemas.openxmlformats.org/officeDocument/2006/relationships/slideLayout" Target="../slideLayouts/slideLayout161.xml"/><Relationship Id="rId51" Type="http://schemas.openxmlformats.org/officeDocument/2006/relationships/slideLayout" Target="../slideLayouts/slideLayout204.xml"/><Relationship Id="rId72" Type="http://schemas.openxmlformats.org/officeDocument/2006/relationships/tags" Target="../tags/tag254.xml"/><Relationship Id="rId3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178.xml"/><Relationship Id="rId33" Type="http://schemas.openxmlformats.org/officeDocument/2006/relationships/slideLayout" Target="../slideLayouts/slideLayout186.xml"/><Relationship Id="rId38" Type="http://schemas.openxmlformats.org/officeDocument/2006/relationships/slideLayout" Target="../slideLayouts/slideLayout191.xml"/><Relationship Id="rId46" Type="http://schemas.openxmlformats.org/officeDocument/2006/relationships/slideLayout" Target="../slideLayouts/slideLayout199.xml"/><Relationship Id="rId59" Type="http://schemas.openxmlformats.org/officeDocument/2006/relationships/slideLayout" Target="../slideLayouts/slideLayout212.xml"/><Relationship Id="rId67" Type="http://schemas.openxmlformats.org/officeDocument/2006/relationships/slideLayout" Target="../slideLayouts/slideLayout220.xml"/><Relationship Id="rId20" Type="http://schemas.openxmlformats.org/officeDocument/2006/relationships/slideLayout" Target="../slideLayouts/slideLayout173.xml"/><Relationship Id="rId41" Type="http://schemas.openxmlformats.org/officeDocument/2006/relationships/slideLayout" Target="../slideLayouts/slideLayout194.xml"/><Relationship Id="rId54" Type="http://schemas.openxmlformats.org/officeDocument/2006/relationships/slideLayout" Target="../slideLayouts/slideLayout207.xml"/><Relationship Id="rId62" Type="http://schemas.openxmlformats.org/officeDocument/2006/relationships/slideLayout" Target="../slideLayouts/slideLayout215.xml"/><Relationship Id="rId70" Type="http://schemas.openxmlformats.org/officeDocument/2006/relationships/theme" Target="../theme/theme5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8.xml"/><Relationship Id="rId23" Type="http://schemas.openxmlformats.org/officeDocument/2006/relationships/slideLayout" Target="../slideLayouts/slideLayout176.xml"/><Relationship Id="rId28" Type="http://schemas.openxmlformats.org/officeDocument/2006/relationships/slideLayout" Target="../slideLayouts/slideLayout181.xml"/><Relationship Id="rId36" Type="http://schemas.openxmlformats.org/officeDocument/2006/relationships/slideLayout" Target="../slideLayouts/slideLayout189.xml"/><Relationship Id="rId49" Type="http://schemas.openxmlformats.org/officeDocument/2006/relationships/slideLayout" Target="../slideLayouts/slideLayout202.xml"/><Relationship Id="rId57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163.xml"/><Relationship Id="rId31" Type="http://schemas.openxmlformats.org/officeDocument/2006/relationships/slideLayout" Target="../slideLayouts/slideLayout184.xml"/><Relationship Id="rId44" Type="http://schemas.openxmlformats.org/officeDocument/2006/relationships/slideLayout" Target="../slideLayouts/slideLayout197.xml"/><Relationship Id="rId52" Type="http://schemas.openxmlformats.org/officeDocument/2006/relationships/slideLayout" Target="../slideLayouts/slideLayout205.xml"/><Relationship Id="rId60" Type="http://schemas.openxmlformats.org/officeDocument/2006/relationships/slideLayout" Target="../slideLayouts/slideLayout213.xml"/><Relationship Id="rId65" Type="http://schemas.openxmlformats.org/officeDocument/2006/relationships/slideLayout" Target="../slideLayouts/slideLayout218.xml"/><Relationship Id="rId73" Type="http://schemas.openxmlformats.org/officeDocument/2006/relationships/tags" Target="../tags/tag255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39" Type="http://schemas.openxmlformats.org/officeDocument/2006/relationships/slideLayout" Target="../slideLayouts/slideLayout192.xml"/><Relationship Id="rId34" Type="http://schemas.openxmlformats.org/officeDocument/2006/relationships/slideLayout" Target="../slideLayouts/slideLayout187.xml"/><Relationship Id="rId50" Type="http://schemas.openxmlformats.org/officeDocument/2006/relationships/slideLayout" Target="../slideLayouts/slideLayout203.xml"/><Relationship Id="rId55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160.xml"/><Relationship Id="rId71" Type="http://schemas.openxmlformats.org/officeDocument/2006/relationships/vmlDrawing" Target="../drawings/vmlDrawing151.v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8.xml"/><Relationship Id="rId21" Type="http://schemas.openxmlformats.org/officeDocument/2006/relationships/slideLayout" Target="../slideLayouts/slideLayout243.xml"/><Relationship Id="rId42" Type="http://schemas.openxmlformats.org/officeDocument/2006/relationships/slideLayout" Target="../slideLayouts/slideLayout264.xml"/><Relationship Id="rId47" Type="http://schemas.openxmlformats.org/officeDocument/2006/relationships/slideLayout" Target="../slideLayouts/slideLayout269.xml"/><Relationship Id="rId63" Type="http://schemas.openxmlformats.org/officeDocument/2006/relationships/slideLayout" Target="../slideLayouts/slideLayout285.xml"/><Relationship Id="rId68" Type="http://schemas.openxmlformats.org/officeDocument/2006/relationships/slideLayout" Target="../slideLayouts/slideLayout290.xml"/><Relationship Id="rId2" Type="http://schemas.openxmlformats.org/officeDocument/2006/relationships/slideLayout" Target="../slideLayouts/slideLayout224.xml"/><Relationship Id="rId16" Type="http://schemas.openxmlformats.org/officeDocument/2006/relationships/slideLayout" Target="../slideLayouts/slideLayout238.xml"/><Relationship Id="rId29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33.xml"/><Relationship Id="rId24" Type="http://schemas.openxmlformats.org/officeDocument/2006/relationships/slideLayout" Target="../slideLayouts/slideLayout246.xml"/><Relationship Id="rId32" Type="http://schemas.openxmlformats.org/officeDocument/2006/relationships/slideLayout" Target="../slideLayouts/slideLayout254.xml"/><Relationship Id="rId37" Type="http://schemas.openxmlformats.org/officeDocument/2006/relationships/slideLayout" Target="../slideLayouts/slideLayout259.xml"/><Relationship Id="rId40" Type="http://schemas.openxmlformats.org/officeDocument/2006/relationships/slideLayout" Target="../slideLayouts/slideLayout262.xml"/><Relationship Id="rId45" Type="http://schemas.openxmlformats.org/officeDocument/2006/relationships/slideLayout" Target="../slideLayouts/slideLayout267.xml"/><Relationship Id="rId53" Type="http://schemas.openxmlformats.org/officeDocument/2006/relationships/slideLayout" Target="../slideLayouts/slideLayout275.xml"/><Relationship Id="rId58" Type="http://schemas.openxmlformats.org/officeDocument/2006/relationships/slideLayout" Target="../slideLayouts/slideLayout280.xml"/><Relationship Id="rId66" Type="http://schemas.openxmlformats.org/officeDocument/2006/relationships/slideLayout" Target="../slideLayouts/slideLayout288.xml"/><Relationship Id="rId74" Type="http://schemas.openxmlformats.org/officeDocument/2006/relationships/oleObject" Target="../embeddings/oleObject223.bin"/><Relationship Id="rId5" Type="http://schemas.openxmlformats.org/officeDocument/2006/relationships/slideLayout" Target="../slideLayouts/slideLayout227.xml"/><Relationship Id="rId61" Type="http://schemas.openxmlformats.org/officeDocument/2006/relationships/slideLayout" Target="../slideLayouts/slideLayout283.xml"/><Relationship Id="rId19" Type="http://schemas.openxmlformats.org/officeDocument/2006/relationships/slideLayout" Target="../slideLayouts/slideLayout241.xml"/><Relationship Id="rId14" Type="http://schemas.openxmlformats.org/officeDocument/2006/relationships/slideLayout" Target="../slideLayouts/slideLayout236.xml"/><Relationship Id="rId22" Type="http://schemas.openxmlformats.org/officeDocument/2006/relationships/slideLayout" Target="../slideLayouts/slideLayout244.xml"/><Relationship Id="rId27" Type="http://schemas.openxmlformats.org/officeDocument/2006/relationships/slideLayout" Target="../slideLayouts/slideLayout249.xml"/><Relationship Id="rId30" Type="http://schemas.openxmlformats.org/officeDocument/2006/relationships/slideLayout" Target="../slideLayouts/slideLayout252.xml"/><Relationship Id="rId35" Type="http://schemas.openxmlformats.org/officeDocument/2006/relationships/slideLayout" Target="../slideLayouts/slideLayout257.xml"/><Relationship Id="rId43" Type="http://schemas.openxmlformats.org/officeDocument/2006/relationships/slideLayout" Target="../slideLayouts/slideLayout265.xml"/><Relationship Id="rId48" Type="http://schemas.openxmlformats.org/officeDocument/2006/relationships/slideLayout" Target="../slideLayouts/slideLayout270.xml"/><Relationship Id="rId56" Type="http://schemas.openxmlformats.org/officeDocument/2006/relationships/slideLayout" Target="../slideLayouts/slideLayout278.xml"/><Relationship Id="rId64" Type="http://schemas.openxmlformats.org/officeDocument/2006/relationships/slideLayout" Target="../slideLayouts/slideLayout286.xml"/><Relationship Id="rId69" Type="http://schemas.openxmlformats.org/officeDocument/2006/relationships/slideLayout" Target="../slideLayouts/slideLayout291.xml"/><Relationship Id="rId8" Type="http://schemas.openxmlformats.org/officeDocument/2006/relationships/slideLayout" Target="../slideLayouts/slideLayout230.xml"/><Relationship Id="rId51" Type="http://schemas.openxmlformats.org/officeDocument/2006/relationships/slideLayout" Target="../slideLayouts/slideLayout273.xml"/><Relationship Id="rId72" Type="http://schemas.openxmlformats.org/officeDocument/2006/relationships/tags" Target="../tags/tag370.xml"/><Relationship Id="rId3" Type="http://schemas.openxmlformats.org/officeDocument/2006/relationships/slideLayout" Target="../slideLayouts/slideLayout225.xml"/><Relationship Id="rId12" Type="http://schemas.openxmlformats.org/officeDocument/2006/relationships/slideLayout" Target="../slideLayouts/slideLayout234.xml"/><Relationship Id="rId17" Type="http://schemas.openxmlformats.org/officeDocument/2006/relationships/slideLayout" Target="../slideLayouts/slideLayout239.xml"/><Relationship Id="rId25" Type="http://schemas.openxmlformats.org/officeDocument/2006/relationships/slideLayout" Target="../slideLayouts/slideLayout247.xml"/><Relationship Id="rId33" Type="http://schemas.openxmlformats.org/officeDocument/2006/relationships/slideLayout" Target="../slideLayouts/slideLayout255.xml"/><Relationship Id="rId38" Type="http://schemas.openxmlformats.org/officeDocument/2006/relationships/slideLayout" Target="../slideLayouts/slideLayout260.xml"/><Relationship Id="rId46" Type="http://schemas.openxmlformats.org/officeDocument/2006/relationships/slideLayout" Target="../slideLayouts/slideLayout268.xml"/><Relationship Id="rId59" Type="http://schemas.openxmlformats.org/officeDocument/2006/relationships/slideLayout" Target="../slideLayouts/slideLayout281.xml"/><Relationship Id="rId67" Type="http://schemas.openxmlformats.org/officeDocument/2006/relationships/slideLayout" Target="../slideLayouts/slideLayout289.xml"/><Relationship Id="rId20" Type="http://schemas.openxmlformats.org/officeDocument/2006/relationships/slideLayout" Target="../slideLayouts/slideLayout242.xml"/><Relationship Id="rId41" Type="http://schemas.openxmlformats.org/officeDocument/2006/relationships/slideLayout" Target="../slideLayouts/slideLayout263.xml"/><Relationship Id="rId54" Type="http://schemas.openxmlformats.org/officeDocument/2006/relationships/slideLayout" Target="../slideLayouts/slideLayout276.xml"/><Relationship Id="rId62" Type="http://schemas.openxmlformats.org/officeDocument/2006/relationships/slideLayout" Target="../slideLayouts/slideLayout284.xml"/><Relationship Id="rId70" Type="http://schemas.openxmlformats.org/officeDocument/2006/relationships/theme" Target="../theme/theme6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7.xml"/><Relationship Id="rId23" Type="http://schemas.openxmlformats.org/officeDocument/2006/relationships/slideLayout" Target="../slideLayouts/slideLayout245.xml"/><Relationship Id="rId28" Type="http://schemas.openxmlformats.org/officeDocument/2006/relationships/slideLayout" Target="../slideLayouts/slideLayout250.xml"/><Relationship Id="rId36" Type="http://schemas.openxmlformats.org/officeDocument/2006/relationships/slideLayout" Target="../slideLayouts/slideLayout258.xml"/><Relationship Id="rId49" Type="http://schemas.openxmlformats.org/officeDocument/2006/relationships/slideLayout" Target="../slideLayouts/slideLayout271.xml"/><Relationship Id="rId57" Type="http://schemas.openxmlformats.org/officeDocument/2006/relationships/slideLayout" Target="../slideLayouts/slideLayout279.xml"/><Relationship Id="rId10" Type="http://schemas.openxmlformats.org/officeDocument/2006/relationships/slideLayout" Target="../slideLayouts/slideLayout232.xml"/><Relationship Id="rId31" Type="http://schemas.openxmlformats.org/officeDocument/2006/relationships/slideLayout" Target="../slideLayouts/slideLayout253.xml"/><Relationship Id="rId44" Type="http://schemas.openxmlformats.org/officeDocument/2006/relationships/slideLayout" Target="../slideLayouts/slideLayout266.xml"/><Relationship Id="rId52" Type="http://schemas.openxmlformats.org/officeDocument/2006/relationships/slideLayout" Target="../slideLayouts/slideLayout274.xml"/><Relationship Id="rId60" Type="http://schemas.openxmlformats.org/officeDocument/2006/relationships/slideLayout" Target="../slideLayouts/slideLayout282.xml"/><Relationship Id="rId65" Type="http://schemas.openxmlformats.org/officeDocument/2006/relationships/slideLayout" Target="../slideLayouts/slideLayout287.xml"/><Relationship Id="rId73" Type="http://schemas.openxmlformats.org/officeDocument/2006/relationships/tags" Target="../tags/tag371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5.xml"/><Relationship Id="rId18" Type="http://schemas.openxmlformats.org/officeDocument/2006/relationships/slideLayout" Target="../slideLayouts/slideLayout240.xml"/><Relationship Id="rId39" Type="http://schemas.openxmlformats.org/officeDocument/2006/relationships/slideLayout" Target="../slideLayouts/slideLayout261.xml"/><Relationship Id="rId34" Type="http://schemas.openxmlformats.org/officeDocument/2006/relationships/slideLayout" Target="../slideLayouts/slideLayout256.xml"/><Relationship Id="rId50" Type="http://schemas.openxmlformats.org/officeDocument/2006/relationships/slideLayout" Target="../slideLayouts/slideLayout272.xml"/><Relationship Id="rId55" Type="http://schemas.openxmlformats.org/officeDocument/2006/relationships/slideLayout" Target="../slideLayouts/slideLayout277.xml"/><Relationship Id="rId7" Type="http://schemas.openxmlformats.org/officeDocument/2006/relationships/slideLayout" Target="../slideLayouts/slideLayout229.xml"/><Relationship Id="rId71" Type="http://schemas.openxmlformats.org/officeDocument/2006/relationships/vmlDrawing" Target="../drawings/vmlDrawing219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slideLayout" Target="../slideLayouts/slideLayout304.xml"/><Relationship Id="rId18" Type="http://schemas.openxmlformats.org/officeDocument/2006/relationships/tags" Target="../tags/tag486.xml"/><Relationship Id="rId3" Type="http://schemas.openxmlformats.org/officeDocument/2006/relationships/slideLayout" Target="../slideLayouts/slideLayout294.xml"/><Relationship Id="rId21" Type="http://schemas.openxmlformats.org/officeDocument/2006/relationships/image" Target="../media/image12.emf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17" Type="http://schemas.openxmlformats.org/officeDocument/2006/relationships/vmlDrawing" Target="../drawings/vmlDrawing287.vml"/><Relationship Id="rId2" Type="http://schemas.openxmlformats.org/officeDocument/2006/relationships/slideLayout" Target="../slideLayouts/slideLayout293.xml"/><Relationship Id="rId16" Type="http://schemas.openxmlformats.org/officeDocument/2006/relationships/theme" Target="../theme/theme7.xml"/><Relationship Id="rId20" Type="http://schemas.openxmlformats.org/officeDocument/2006/relationships/oleObject" Target="../embeddings/oleObject291.bin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5" Type="http://schemas.openxmlformats.org/officeDocument/2006/relationships/slideLayout" Target="../slideLayouts/slideLayout306.xml"/><Relationship Id="rId10" Type="http://schemas.openxmlformats.org/officeDocument/2006/relationships/slideLayout" Target="../slideLayouts/slideLayout301.xml"/><Relationship Id="rId19" Type="http://schemas.openxmlformats.org/officeDocument/2006/relationships/tags" Target="../tags/tag487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slideLayout" Target="../slideLayouts/slideLayout305.xml"/><Relationship Id="rId22" Type="http://schemas.openxmlformats.org/officeDocument/2006/relationships/image" Target="../media/image1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4.xml"/><Relationship Id="rId13" Type="http://schemas.openxmlformats.org/officeDocument/2006/relationships/slideLayout" Target="../slideLayouts/slideLayout319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309.xml"/><Relationship Id="rId21" Type="http://schemas.openxmlformats.org/officeDocument/2006/relationships/tags" Target="../tags/tag490.xml"/><Relationship Id="rId7" Type="http://schemas.openxmlformats.org/officeDocument/2006/relationships/slideLayout" Target="../slideLayouts/slideLayout313.xml"/><Relationship Id="rId12" Type="http://schemas.openxmlformats.org/officeDocument/2006/relationships/slideLayout" Target="../slideLayouts/slideLayout318.xml"/><Relationship Id="rId17" Type="http://schemas.openxmlformats.org/officeDocument/2006/relationships/slideLayout" Target="../slideLayouts/slideLayout323.xml"/><Relationship Id="rId2" Type="http://schemas.openxmlformats.org/officeDocument/2006/relationships/slideLayout" Target="../slideLayouts/slideLayout308.xml"/><Relationship Id="rId16" Type="http://schemas.openxmlformats.org/officeDocument/2006/relationships/slideLayout" Target="../slideLayouts/slideLayout322.xml"/><Relationship Id="rId20" Type="http://schemas.openxmlformats.org/officeDocument/2006/relationships/tags" Target="../tags/tag489.xml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11" Type="http://schemas.openxmlformats.org/officeDocument/2006/relationships/slideLayout" Target="../slideLayouts/slideLayout317.xml"/><Relationship Id="rId24" Type="http://schemas.openxmlformats.org/officeDocument/2006/relationships/image" Target="../media/image16.png"/><Relationship Id="rId5" Type="http://schemas.openxmlformats.org/officeDocument/2006/relationships/slideLayout" Target="../slideLayouts/slideLayout311.xml"/><Relationship Id="rId15" Type="http://schemas.openxmlformats.org/officeDocument/2006/relationships/slideLayout" Target="../slideLayouts/slideLayout321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316.xml"/><Relationship Id="rId19" Type="http://schemas.openxmlformats.org/officeDocument/2006/relationships/vmlDrawing" Target="../drawings/vmlDrawing288.vml"/><Relationship Id="rId4" Type="http://schemas.openxmlformats.org/officeDocument/2006/relationships/slideLayout" Target="../slideLayouts/slideLayout310.xml"/><Relationship Id="rId9" Type="http://schemas.openxmlformats.org/officeDocument/2006/relationships/slideLayout" Target="../slideLayouts/slideLayout315.xml"/><Relationship Id="rId14" Type="http://schemas.openxmlformats.org/officeDocument/2006/relationships/slideLayout" Target="../slideLayouts/slideLayout320.xml"/><Relationship Id="rId22" Type="http://schemas.openxmlformats.org/officeDocument/2006/relationships/oleObject" Target="../embeddings/oleObject292.bin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49.xml"/><Relationship Id="rId21" Type="http://schemas.openxmlformats.org/officeDocument/2006/relationships/slideLayout" Target="../slideLayouts/slideLayout344.xml"/><Relationship Id="rId42" Type="http://schemas.openxmlformats.org/officeDocument/2006/relationships/slideLayout" Target="../slideLayouts/slideLayout365.xml"/><Relationship Id="rId47" Type="http://schemas.openxmlformats.org/officeDocument/2006/relationships/slideLayout" Target="../slideLayouts/slideLayout370.xml"/><Relationship Id="rId63" Type="http://schemas.openxmlformats.org/officeDocument/2006/relationships/slideLayout" Target="../slideLayouts/slideLayout386.xml"/><Relationship Id="rId68" Type="http://schemas.openxmlformats.org/officeDocument/2006/relationships/theme" Target="../theme/theme9.xml"/><Relationship Id="rId2" Type="http://schemas.openxmlformats.org/officeDocument/2006/relationships/slideLayout" Target="../slideLayouts/slideLayout325.xml"/><Relationship Id="rId16" Type="http://schemas.openxmlformats.org/officeDocument/2006/relationships/slideLayout" Target="../slideLayouts/slideLayout339.xml"/><Relationship Id="rId29" Type="http://schemas.openxmlformats.org/officeDocument/2006/relationships/slideLayout" Target="../slideLayouts/slideLayout352.xml"/><Relationship Id="rId11" Type="http://schemas.openxmlformats.org/officeDocument/2006/relationships/slideLayout" Target="../slideLayouts/slideLayout334.xml"/><Relationship Id="rId24" Type="http://schemas.openxmlformats.org/officeDocument/2006/relationships/slideLayout" Target="../slideLayouts/slideLayout347.xml"/><Relationship Id="rId32" Type="http://schemas.openxmlformats.org/officeDocument/2006/relationships/slideLayout" Target="../slideLayouts/slideLayout355.xml"/><Relationship Id="rId37" Type="http://schemas.openxmlformats.org/officeDocument/2006/relationships/slideLayout" Target="../slideLayouts/slideLayout360.xml"/><Relationship Id="rId40" Type="http://schemas.openxmlformats.org/officeDocument/2006/relationships/slideLayout" Target="../slideLayouts/slideLayout363.xml"/><Relationship Id="rId45" Type="http://schemas.openxmlformats.org/officeDocument/2006/relationships/slideLayout" Target="../slideLayouts/slideLayout368.xml"/><Relationship Id="rId53" Type="http://schemas.openxmlformats.org/officeDocument/2006/relationships/slideLayout" Target="../slideLayouts/slideLayout376.xml"/><Relationship Id="rId58" Type="http://schemas.openxmlformats.org/officeDocument/2006/relationships/slideLayout" Target="../slideLayouts/slideLayout381.xml"/><Relationship Id="rId66" Type="http://schemas.openxmlformats.org/officeDocument/2006/relationships/slideLayout" Target="../slideLayouts/slideLayout389.xml"/><Relationship Id="rId5" Type="http://schemas.openxmlformats.org/officeDocument/2006/relationships/slideLayout" Target="../slideLayouts/slideLayout328.xml"/><Relationship Id="rId61" Type="http://schemas.openxmlformats.org/officeDocument/2006/relationships/slideLayout" Target="../slideLayouts/slideLayout384.xml"/><Relationship Id="rId19" Type="http://schemas.openxmlformats.org/officeDocument/2006/relationships/slideLayout" Target="../slideLayouts/slideLayout342.xml"/><Relationship Id="rId14" Type="http://schemas.openxmlformats.org/officeDocument/2006/relationships/slideLayout" Target="../slideLayouts/slideLayout337.xml"/><Relationship Id="rId22" Type="http://schemas.openxmlformats.org/officeDocument/2006/relationships/slideLayout" Target="../slideLayouts/slideLayout345.xml"/><Relationship Id="rId27" Type="http://schemas.openxmlformats.org/officeDocument/2006/relationships/slideLayout" Target="../slideLayouts/slideLayout350.xml"/><Relationship Id="rId30" Type="http://schemas.openxmlformats.org/officeDocument/2006/relationships/slideLayout" Target="../slideLayouts/slideLayout353.xml"/><Relationship Id="rId35" Type="http://schemas.openxmlformats.org/officeDocument/2006/relationships/slideLayout" Target="../slideLayouts/slideLayout358.xml"/><Relationship Id="rId43" Type="http://schemas.openxmlformats.org/officeDocument/2006/relationships/slideLayout" Target="../slideLayouts/slideLayout366.xml"/><Relationship Id="rId48" Type="http://schemas.openxmlformats.org/officeDocument/2006/relationships/slideLayout" Target="../slideLayouts/slideLayout371.xml"/><Relationship Id="rId56" Type="http://schemas.openxmlformats.org/officeDocument/2006/relationships/slideLayout" Target="../slideLayouts/slideLayout379.xml"/><Relationship Id="rId64" Type="http://schemas.openxmlformats.org/officeDocument/2006/relationships/slideLayout" Target="../slideLayouts/slideLayout387.xml"/><Relationship Id="rId69" Type="http://schemas.openxmlformats.org/officeDocument/2006/relationships/vmlDrawing" Target="../drawings/vmlDrawing300.vml"/><Relationship Id="rId8" Type="http://schemas.openxmlformats.org/officeDocument/2006/relationships/slideLayout" Target="../slideLayouts/slideLayout331.xml"/><Relationship Id="rId51" Type="http://schemas.openxmlformats.org/officeDocument/2006/relationships/slideLayout" Target="../slideLayouts/slideLayout374.xml"/><Relationship Id="rId72" Type="http://schemas.openxmlformats.org/officeDocument/2006/relationships/oleObject" Target="../embeddings/oleObject308.bin"/><Relationship Id="rId3" Type="http://schemas.openxmlformats.org/officeDocument/2006/relationships/slideLayout" Target="../slideLayouts/slideLayout326.xml"/><Relationship Id="rId12" Type="http://schemas.openxmlformats.org/officeDocument/2006/relationships/slideLayout" Target="../slideLayouts/slideLayout335.xml"/><Relationship Id="rId17" Type="http://schemas.openxmlformats.org/officeDocument/2006/relationships/slideLayout" Target="../slideLayouts/slideLayout340.xml"/><Relationship Id="rId25" Type="http://schemas.openxmlformats.org/officeDocument/2006/relationships/slideLayout" Target="../slideLayouts/slideLayout348.xml"/><Relationship Id="rId33" Type="http://schemas.openxmlformats.org/officeDocument/2006/relationships/slideLayout" Target="../slideLayouts/slideLayout356.xml"/><Relationship Id="rId38" Type="http://schemas.openxmlformats.org/officeDocument/2006/relationships/slideLayout" Target="../slideLayouts/slideLayout361.xml"/><Relationship Id="rId46" Type="http://schemas.openxmlformats.org/officeDocument/2006/relationships/slideLayout" Target="../slideLayouts/slideLayout369.xml"/><Relationship Id="rId59" Type="http://schemas.openxmlformats.org/officeDocument/2006/relationships/slideLayout" Target="../slideLayouts/slideLayout382.xml"/><Relationship Id="rId67" Type="http://schemas.openxmlformats.org/officeDocument/2006/relationships/slideLayout" Target="../slideLayouts/slideLayout390.xml"/><Relationship Id="rId20" Type="http://schemas.openxmlformats.org/officeDocument/2006/relationships/slideLayout" Target="../slideLayouts/slideLayout343.xml"/><Relationship Id="rId41" Type="http://schemas.openxmlformats.org/officeDocument/2006/relationships/slideLayout" Target="../slideLayouts/slideLayout364.xml"/><Relationship Id="rId54" Type="http://schemas.openxmlformats.org/officeDocument/2006/relationships/slideLayout" Target="../slideLayouts/slideLayout377.xml"/><Relationship Id="rId62" Type="http://schemas.openxmlformats.org/officeDocument/2006/relationships/slideLayout" Target="../slideLayouts/slideLayout385.xml"/><Relationship Id="rId70" Type="http://schemas.openxmlformats.org/officeDocument/2006/relationships/tags" Target="../tags/tag507.xml"/><Relationship Id="rId1" Type="http://schemas.openxmlformats.org/officeDocument/2006/relationships/slideLayout" Target="../slideLayouts/slideLayout324.xml"/><Relationship Id="rId6" Type="http://schemas.openxmlformats.org/officeDocument/2006/relationships/slideLayout" Target="../slideLayouts/slideLayout329.xml"/><Relationship Id="rId15" Type="http://schemas.openxmlformats.org/officeDocument/2006/relationships/slideLayout" Target="../slideLayouts/slideLayout338.xml"/><Relationship Id="rId23" Type="http://schemas.openxmlformats.org/officeDocument/2006/relationships/slideLayout" Target="../slideLayouts/slideLayout346.xml"/><Relationship Id="rId28" Type="http://schemas.openxmlformats.org/officeDocument/2006/relationships/slideLayout" Target="../slideLayouts/slideLayout351.xml"/><Relationship Id="rId36" Type="http://schemas.openxmlformats.org/officeDocument/2006/relationships/slideLayout" Target="../slideLayouts/slideLayout359.xml"/><Relationship Id="rId49" Type="http://schemas.openxmlformats.org/officeDocument/2006/relationships/slideLayout" Target="../slideLayouts/slideLayout372.xml"/><Relationship Id="rId57" Type="http://schemas.openxmlformats.org/officeDocument/2006/relationships/slideLayout" Target="../slideLayouts/slideLayout380.xml"/><Relationship Id="rId10" Type="http://schemas.openxmlformats.org/officeDocument/2006/relationships/slideLayout" Target="../slideLayouts/slideLayout333.xml"/><Relationship Id="rId31" Type="http://schemas.openxmlformats.org/officeDocument/2006/relationships/slideLayout" Target="../slideLayouts/slideLayout354.xml"/><Relationship Id="rId44" Type="http://schemas.openxmlformats.org/officeDocument/2006/relationships/slideLayout" Target="../slideLayouts/slideLayout367.xml"/><Relationship Id="rId52" Type="http://schemas.openxmlformats.org/officeDocument/2006/relationships/slideLayout" Target="../slideLayouts/slideLayout375.xml"/><Relationship Id="rId60" Type="http://schemas.openxmlformats.org/officeDocument/2006/relationships/slideLayout" Target="../slideLayouts/slideLayout383.xml"/><Relationship Id="rId65" Type="http://schemas.openxmlformats.org/officeDocument/2006/relationships/slideLayout" Target="../slideLayouts/slideLayout388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327.xml"/><Relationship Id="rId9" Type="http://schemas.openxmlformats.org/officeDocument/2006/relationships/slideLayout" Target="../slideLayouts/slideLayout332.xml"/><Relationship Id="rId13" Type="http://schemas.openxmlformats.org/officeDocument/2006/relationships/slideLayout" Target="../slideLayouts/slideLayout336.xml"/><Relationship Id="rId18" Type="http://schemas.openxmlformats.org/officeDocument/2006/relationships/slideLayout" Target="../slideLayouts/slideLayout341.xml"/><Relationship Id="rId39" Type="http://schemas.openxmlformats.org/officeDocument/2006/relationships/slideLayout" Target="../slideLayouts/slideLayout362.xml"/><Relationship Id="rId34" Type="http://schemas.openxmlformats.org/officeDocument/2006/relationships/slideLayout" Target="../slideLayouts/slideLayout357.xml"/><Relationship Id="rId50" Type="http://schemas.openxmlformats.org/officeDocument/2006/relationships/slideLayout" Target="../slideLayouts/slideLayout373.xml"/><Relationship Id="rId55" Type="http://schemas.openxmlformats.org/officeDocument/2006/relationships/slideLayout" Target="../slideLayouts/slideLayout378.xml"/><Relationship Id="rId7" Type="http://schemas.openxmlformats.org/officeDocument/2006/relationships/slideLayout" Target="../slideLayouts/slideLayout330.xml"/><Relationship Id="rId71" Type="http://schemas.openxmlformats.org/officeDocument/2006/relationships/tags" Target="../tags/tag5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432612313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Diapositiva think-cell" r:id="rId72" imgW="270" imgH="270" progId="TCLayout.ActiveDocument.1">
                  <p:embed/>
                </p:oleObj>
              </mc:Choice>
              <mc:Fallback>
                <p:oleObj name="Diapositiva think-cell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7809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5" y="1825625"/>
            <a:ext cx="8657653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277117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983">
          <p15:clr>
            <a:srgbClr val="F26B43"/>
          </p15:clr>
        </p15:guide>
        <p15:guide id="2" pos="297">
          <p15:clr>
            <a:srgbClr val="F26B43"/>
          </p15:clr>
        </p15:guide>
        <p15:guide id="3" pos="5463">
          <p15:clr>
            <a:srgbClr val="F26B43"/>
          </p15:clr>
        </p15:guide>
        <p15:guide id="4" orient="horz" pos="291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22420545"/>
              </p:ext>
            </p:extLst>
          </p:nvPr>
        </p:nvGraphicFramePr>
        <p:xfrm>
          <a:off x="-6878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8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205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878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ChangeArrowheads="1"/>
          </p:cNvSpPr>
          <p:nvPr userDrawn="1"/>
        </p:nvSpPr>
        <p:spPr bwMode="auto">
          <a:xfrm>
            <a:off x="0" y="6702163"/>
            <a:ext cx="9906000" cy="156367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4296" tIns="37148" rIns="74296" bIns="37148" anchor="ctr"/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Font typeface="Arial" charset="0"/>
              <a:buChar char="−"/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Font typeface="Arial" charset="0"/>
              <a:buChar char="−"/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Font typeface="Arial" charset="0"/>
              <a:buChar char="−"/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Font typeface="Arial" charset="0"/>
              <a:buChar char="−"/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032"/>
              </a:lnSpc>
              <a:defRPr/>
            </a:pPr>
            <a:endParaRPr lang="it-IT" altLang="it-IT" sz="1300">
              <a:solidFill>
                <a:srgbClr val="000000"/>
              </a:solidFill>
            </a:endParaRP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4337" y="260350"/>
            <a:ext cx="9362546" cy="240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it-IT"/>
              <a:t>….</a:t>
            </a:r>
          </a:p>
        </p:txBody>
      </p:sp>
      <p:sp>
        <p:nvSpPr>
          <p:cNvPr id="3077" name="Slide Number"/>
          <p:cNvSpPr txBox="1">
            <a:spLocks noChangeArrowheads="1"/>
          </p:cNvSpPr>
          <p:nvPr/>
        </p:nvSpPr>
        <p:spPr bwMode="auto">
          <a:xfrm>
            <a:off x="9384905" y="6718308"/>
            <a:ext cx="128240" cy="11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Font typeface="Arial" charset="0"/>
              <a:buChar char="−"/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Font typeface="Arial" charset="0"/>
              <a:buChar char="−"/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Font typeface="Arial" charset="0"/>
              <a:buChar char="−"/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Font typeface="Arial" charset="0"/>
              <a:buChar char="−"/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42959B9D-35EF-4CC6-A5EA-013EA83E5DFB}" type="slidenum">
              <a:rPr lang="en-US" altLang="it-IT" sz="731" smtClean="0">
                <a:solidFill>
                  <a:srgbClr val="000000"/>
                </a:solidFill>
              </a:rPr>
              <a:pPr eaLnBrk="1" hangingPunct="1">
                <a:defRPr/>
              </a:pPr>
              <a:t>‹N›</a:t>
            </a:fld>
            <a:endParaRPr lang="en-US" altLang="it-IT" sz="731" dirty="0">
              <a:solidFill>
                <a:srgbClr val="000000"/>
              </a:solidFill>
            </a:endParaRPr>
          </a:p>
        </p:txBody>
      </p:sp>
      <p:sp>
        <p:nvSpPr>
          <p:cNvPr id="2054" name="Slide Number Line"/>
          <p:cNvSpPr>
            <a:spLocks noChangeShapeType="1"/>
          </p:cNvSpPr>
          <p:nvPr/>
        </p:nvSpPr>
        <p:spPr bwMode="auto">
          <a:xfrm>
            <a:off x="9269677" y="6734184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sz="1463"/>
          </a:p>
        </p:txBody>
      </p:sp>
      <p:sp>
        <p:nvSpPr>
          <p:cNvPr id="2055" name="Header Line"/>
          <p:cNvSpPr>
            <a:spLocks noChangeShapeType="1"/>
          </p:cNvSpPr>
          <p:nvPr userDrawn="1"/>
        </p:nvSpPr>
        <p:spPr bwMode="auto">
          <a:xfrm>
            <a:off x="0" y="765175"/>
            <a:ext cx="9907720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4296" tIns="37148" rIns="74296" bIns="37148"/>
          <a:lstStyle/>
          <a:p>
            <a:endParaRPr lang="it-IT" sz="1463"/>
          </a:p>
        </p:txBody>
      </p:sp>
      <p:pic>
        <p:nvPicPr>
          <p:cNvPr id="2056" name="Picture 7" descr="ADR_logo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63256" y="42205"/>
            <a:ext cx="1204932" cy="36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0005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9" r:id="rId1"/>
    <p:sldLayoutId id="2147485320" r:id="rId2"/>
  </p:sldLayoutIdLst>
  <p:hf hdr="0" dt="0"/>
  <p:txStyles>
    <p:titleStyle>
      <a:lvl1pPr algn="ct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813" b="1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813" b="1">
          <a:solidFill>
            <a:srgbClr val="FF0000"/>
          </a:solidFill>
          <a:latin typeface="Arial" charset="0"/>
        </a:defRPr>
      </a:lvl2pPr>
      <a:lvl3pPr algn="ct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813" b="1">
          <a:solidFill>
            <a:srgbClr val="FF0000"/>
          </a:solidFill>
          <a:latin typeface="Arial" charset="0"/>
        </a:defRPr>
      </a:lvl3pPr>
      <a:lvl4pPr algn="ct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813" b="1">
          <a:solidFill>
            <a:srgbClr val="FF0000"/>
          </a:solidFill>
          <a:latin typeface="Arial" charset="0"/>
        </a:defRPr>
      </a:lvl4pPr>
      <a:lvl5pPr algn="ct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813" b="1">
          <a:solidFill>
            <a:srgbClr val="FF0000"/>
          </a:solidFill>
          <a:latin typeface="Arial" charset="0"/>
        </a:defRPr>
      </a:lvl5pPr>
      <a:lvl6pPr marL="371476" algn="ctr" rtl="0" fontAlgn="base">
        <a:lnSpc>
          <a:spcPct val="93000"/>
        </a:lnSpc>
        <a:spcBef>
          <a:spcPct val="0"/>
        </a:spcBef>
        <a:spcAft>
          <a:spcPct val="0"/>
        </a:spcAft>
        <a:defRPr sz="813" b="1">
          <a:solidFill>
            <a:srgbClr val="FF0000"/>
          </a:solidFill>
          <a:latin typeface="Arial" charset="0"/>
        </a:defRPr>
      </a:lvl6pPr>
      <a:lvl7pPr marL="742952" algn="ctr" rtl="0" fontAlgn="base">
        <a:lnSpc>
          <a:spcPct val="93000"/>
        </a:lnSpc>
        <a:spcBef>
          <a:spcPct val="0"/>
        </a:spcBef>
        <a:spcAft>
          <a:spcPct val="0"/>
        </a:spcAft>
        <a:defRPr sz="813" b="1">
          <a:solidFill>
            <a:srgbClr val="FF0000"/>
          </a:solidFill>
          <a:latin typeface="Arial" charset="0"/>
        </a:defRPr>
      </a:lvl7pPr>
      <a:lvl8pPr marL="1114428" algn="ctr" rtl="0" fontAlgn="base">
        <a:lnSpc>
          <a:spcPct val="93000"/>
        </a:lnSpc>
        <a:spcBef>
          <a:spcPct val="0"/>
        </a:spcBef>
        <a:spcAft>
          <a:spcPct val="0"/>
        </a:spcAft>
        <a:defRPr sz="813" b="1">
          <a:solidFill>
            <a:srgbClr val="FF0000"/>
          </a:solidFill>
          <a:latin typeface="Arial" charset="0"/>
        </a:defRPr>
      </a:lvl8pPr>
      <a:lvl9pPr marL="1485905" algn="ctr" rtl="0" fontAlgn="base">
        <a:lnSpc>
          <a:spcPct val="93000"/>
        </a:lnSpc>
        <a:spcBef>
          <a:spcPct val="0"/>
        </a:spcBef>
        <a:spcAft>
          <a:spcPct val="0"/>
        </a:spcAft>
        <a:defRPr sz="813" b="1">
          <a:solidFill>
            <a:srgbClr val="FF0000"/>
          </a:solidFill>
          <a:latin typeface="Arial" charset="0"/>
        </a:defRPr>
      </a:lvl9pPr>
    </p:titleStyle>
    <p:bodyStyle>
      <a:lvl1pPr marL="278607" indent="-278607" algn="l" rtl="0" eaLnBrk="0" fontAlgn="base" hangingPunct="0">
        <a:lnSpc>
          <a:spcPct val="120000"/>
        </a:lnSpc>
        <a:spcBef>
          <a:spcPts val="20"/>
        </a:spcBef>
        <a:spcAft>
          <a:spcPct val="0"/>
        </a:spcAft>
        <a:buFont typeface="Arial" charset="0"/>
        <a:defRPr sz="1300" b="1">
          <a:solidFill>
            <a:schemeClr val="tx1"/>
          </a:solidFill>
          <a:latin typeface="+mn-lt"/>
          <a:ea typeface="+mn-ea"/>
          <a:cs typeface="+mn-cs"/>
        </a:defRPr>
      </a:lvl1pPr>
      <a:lvl2pPr marL="187028" indent="-187028" algn="l" rtl="0" eaLnBrk="0" fontAlgn="base" hangingPunct="0">
        <a:lnSpc>
          <a:spcPct val="120000"/>
        </a:lnSpc>
        <a:spcBef>
          <a:spcPts val="975"/>
        </a:spcBef>
        <a:spcAft>
          <a:spcPct val="0"/>
        </a:spcAft>
        <a:buFont typeface="Arial" charset="0"/>
        <a:buChar char="•"/>
        <a:defRPr sz="975">
          <a:solidFill>
            <a:schemeClr val="tx1"/>
          </a:solidFill>
          <a:latin typeface="+mn-lt"/>
          <a:ea typeface="MS PGothic" pitchFamily="34" charset="-128"/>
        </a:defRPr>
      </a:lvl2pPr>
      <a:lvl3pPr marL="390824" indent="-189608" algn="l" rtl="0" eaLnBrk="0" fontAlgn="base" hangingPunct="0">
        <a:lnSpc>
          <a:spcPct val="120000"/>
        </a:lnSpc>
        <a:spcBef>
          <a:spcPts val="31"/>
        </a:spcBef>
        <a:spcAft>
          <a:spcPct val="0"/>
        </a:spcAft>
        <a:buFont typeface="Arial" charset="0"/>
        <a:buChar char="–"/>
        <a:defRPr sz="894">
          <a:solidFill>
            <a:schemeClr val="tx1"/>
          </a:solidFill>
          <a:latin typeface="+mn-lt"/>
          <a:ea typeface="MS PGothic" pitchFamily="34" charset="-128"/>
        </a:defRPr>
      </a:lvl3pPr>
      <a:lvl4pPr marL="566243" indent="-162521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charset="0"/>
        <a:buChar char="-"/>
        <a:defRPr sz="1381">
          <a:solidFill>
            <a:schemeClr val="tx1"/>
          </a:solidFill>
          <a:latin typeface="+mn-lt"/>
          <a:ea typeface="MS PGothic" pitchFamily="34" charset="-128"/>
        </a:defRPr>
      </a:lvl4pPr>
      <a:lvl5pPr marL="566243" indent="919662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charset="0"/>
        <a:defRPr sz="1381">
          <a:solidFill>
            <a:schemeClr val="tx1"/>
          </a:solidFill>
          <a:latin typeface="+mn-lt"/>
          <a:ea typeface="MS PGothic" pitchFamily="34" charset="-128"/>
        </a:defRPr>
      </a:lvl5pPr>
      <a:lvl6pPr marL="937719" indent="919662" algn="l" rtl="0" fontAlgn="base">
        <a:lnSpc>
          <a:spcPct val="93000"/>
        </a:lnSpc>
        <a:spcBef>
          <a:spcPct val="0"/>
        </a:spcBef>
        <a:spcAft>
          <a:spcPct val="0"/>
        </a:spcAft>
        <a:buFont typeface="Arial" charset="0"/>
        <a:defRPr sz="1381">
          <a:solidFill>
            <a:schemeClr val="tx1"/>
          </a:solidFill>
          <a:latin typeface="+mn-lt"/>
          <a:ea typeface="ＭＳ Ｐゴシック" pitchFamily="-83" charset="-128"/>
        </a:defRPr>
      </a:lvl6pPr>
      <a:lvl7pPr marL="1309195" indent="919662" algn="l" rtl="0" fontAlgn="base">
        <a:lnSpc>
          <a:spcPct val="93000"/>
        </a:lnSpc>
        <a:spcBef>
          <a:spcPct val="0"/>
        </a:spcBef>
        <a:spcAft>
          <a:spcPct val="0"/>
        </a:spcAft>
        <a:buFont typeface="Arial" charset="0"/>
        <a:defRPr sz="1381">
          <a:solidFill>
            <a:schemeClr val="tx1"/>
          </a:solidFill>
          <a:latin typeface="+mn-lt"/>
          <a:ea typeface="ＭＳ Ｐゴシック" pitchFamily="-83" charset="-128"/>
        </a:defRPr>
      </a:lvl7pPr>
      <a:lvl8pPr marL="1680672" indent="919662" algn="l" rtl="0" fontAlgn="base">
        <a:lnSpc>
          <a:spcPct val="93000"/>
        </a:lnSpc>
        <a:spcBef>
          <a:spcPct val="0"/>
        </a:spcBef>
        <a:spcAft>
          <a:spcPct val="0"/>
        </a:spcAft>
        <a:buFont typeface="Arial" charset="0"/>
        <a:defRPr sz="1381">
          <a:solidFill>
            <a:schemeClr val="tx1"/>
          </a:solidFill>
          <a:latin typeface="+mn-lt"/>
          <a:ea typeface="ＭＳ Ｐゴシック" pitchFamily="-83" charset="-128"/>
        </a:defRPr>
      </a:lvl8pPr>
      <a:lvl9pPr marL="2052148" indent="919662" algn="l" rtl="0" fontAlgn="base">
        <a:lnSpc>
          <a:spcPct val="93000"/>
        </a:lnSpc>
        <a:spcBef>
          <a:spcPct val="0"/>
        </a:spcBef>
        <a:spcAft>
          <a:spcPct val="0"/>
        </a:spcAft>
        <a:buFont typeface="Arial" charset="0"/>
        <a:defRPr sz="1381">
          <a:solidFill>
            <a:schemeClr val="tx1"/>
          </a:solidFill>
          <a:latin typeface="+mn-lt"/>
          <a:ea typeface="ＭＳ Ｐゴシック" pitchFamily="-83" charset="-128"/>
        </a:defRPr>
      </a:lvl9pPr>
    </p:bodyStyle>
    <p:otherStyle>
      <a:defPPr>
        <a:defRPr lang="it-IT"/>
      </a:defPPr>
      <a:lvl1pPr marL="0" algn="l" defTabSz="742952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6" algn="l" defTabSz="742952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2" algn="l" defTabSz="742952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8" algn="l" defTabSz="742952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5" algn="l" defTabSz="742952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81" algn="l" defTabSz="742952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7" algn="l" defTabSz="742952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33" algn="l" defTabSz="742952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9" algn="l" defTabSz="742952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177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416409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6" name="Diapositiva think-cell" r:id="rId22" imgW="360" imgH="360" progId="TCLayout.ActiveDocument.1">
                  <p:embed/>
                </p:oleObj>
              </mc:Choice>
              <mc:Fallback>
                <p:oleObj name="Diapositiva think-cell" r:id="rId22" imgW="360" imgH="360" progId="TCLayout.ActiveDocument.1">
                  <p:embed/>
                  <p:pic>
                    <p:nvPicPr>
                      <p:cNvPr id="1026" name="Object 317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 fontAlgn="base">
              <a:spcBef>
                <a:spcPct val="0"/>
              </a:spcBef>
              <a:spcAft>
                <a:spcPct val="0"/>
              </a:spcAft>
            </a:pPr>
            <a:endParaRPr lang="it-IT" sz="2100" b="1" i="0" baseline="0" dirty="0">
              <a:solidFill>
                <a:srgbClr val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307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lo stile del titolo</a:t>
            </a:r>
            <a:endParaRPr lang="en-US" altLang="it-IT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3424" y="1933585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it-IT"/>
              <a:t>Click to edit Master text styles</a:t>
            </a:r>
          </a:p>
          <a:p>
            <a:pPr lvl="1"/>
            <a:r>
              <a:rPr lang="en-US" altLang="it-IT"/>
              <a:t>Second level</a:t>
            </a:r>
          </a:p>
          <a:p>
            <a:pPr lvl="2"/>
            <a:r>
              <a:rPr lang="en-US" altLang="it-IT"/>
              <a:t>Third level</a:t>
            </a:r>
          </a:p>
          <a:p>
            <a:pPr lvl="3"/>
            <a:r>
              <a:rPr lang="en-US" altLang="it-IT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42673A-ED5A-4BE6-BCA6-49AE99459FD3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80" name="Header Line"/>
          <p:cNvSpPr>
            <a:spLocks noChangeShapeType="1"/>
          </p:cNvSpPr>
          <p:nvPr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3" name="Picture 7" descr="ADR_logo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4291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2" r:id="rId1"/>
    <p:sldLayoutId id="2147485343" r:id="rId2"/>
    <p:sldLayoutId id="2147485344" r:id="rId3"/>
    <p:sldLayoutId id="2147485345" r:id="rId4"/>
    <p:sldLayoutId id="2147485346" r:id="rId5"/>
    <p:sldLayoutId id="2147485347" r:id="rId6"/>
    <p:sldLayoutId id="2147485348" r:id="rId7"/>
    <p:sldLayoutId id="2147485349" r:id="rId8"/>
    <p:sldLayoutId id="2147485350" r:id="rId9"/>
    <p:sldLayoutId id="2147485351" r:id="rId10"/>
    <p:sldLayoutId id="2147485352" r:id="rId11"/>
    <p:sldLayoutId id="2147485353" r:id="rId12"/>
    <p:sldLayoutId id="2147485354" r:id="rId13"/>
    <p:sldLayoutId id="2147485355" r:id="rId14"/>
    <p:sldLayoutId id="2147485356" r:id="rId15"/>
    <p:sldLayoutId id="2147485357" r:id="rId16"/>
    <p:sldLayoutId id="2147485358" r:id="rId17"/>
  </p:sldLayoutIdLst>
  <p:hf hdr="0" dt="0"/>
  <p:txStyles>
    <p:titleStyle>
      <a:lvl1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lnSpc>
          <a:spcPct val="93000"/>
        </a:lnSpc>
        <a:spcBef>
          <a:spcPts val="25"/>
        </a:spcBef>
        <a:spcAft>
          <a:spcPct val="0"/>
        </a:spcAft>
        <a:buFont typeface="Arial" pitchFamily="34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1" fontAlgn="base" hangingPunct="1">
        <a:lnSpc>
          <a:spcPct val="93000"/>
        </a:lnSpc>
        <a:spcBef>
          <a:spcPts val="1200"/>
        </a:spcBef>
        <a:spcAft>
          <a:spcPct val="0"/>
        </a:spcAft>
        <a:buFont typeface="Arial" pitchFamily="34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1" fontAlgn="base" hangingPunct="1">
        <a:lnSpc>
          <a:spcPct val="93000"/>
        </a:lnSpc>
        <a:spcBef>
          <a:spcPts val="38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623309197"/>
              </p:ext>
            </p:extLst>
          </p:nvPr>
        </p:nvGraphicFramePr>
        <p:xfrm>
          <a:off x="1291" y="1594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4" name="Diapositiva think-cell" r:id="rId72" imgW="270" imgH="270" progId="TCLayout.ActiveDocument.1">
                  <p:embed/>
                </p:oleObj>
              </mc:Choice>
              <mc:Fallback>
                <p:oleObj name="Diapositiva think-cell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291" y="1594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6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7808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5" y="1825625"/>
            <a:ext cx="8657653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632713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7" r:id="rId1"/>
    <p:sldLayoutId id="2147485398" r:id="rId2"/>
    <p:sldLayoutId id="2147485399" r:id="rId3"/>
    <p:sldLayoutId id="2147485400" r:id="rId4"/>
    <p:sldLayoutId id="2147485401" r:id="rId5"/>
    <p:sldLayoutId id="2147485402" r:id="rId6"/>
    <p:sldLayoutId id="2147485403" r:id="rId7"/>
    <p:sldLayoutId id="2147485404" r:id="rId8"/>
    <p:sldLayoutId id="2147485405" r:id="rId9"/>
    <p:sldLayoutId id="2147485406" r:id="rId10"/>
    <p:sldLayoutId id="2147485407" r:id="rId11"/>
    <p:sldLayoutId id="2147485408" r:id="rId12"/>
    <p:sldLayoutId id="2147485409" r:id="rId13"/>
    <p:sldLayoutId id="2147485410" r:id="rId14"/>
    <p:sldLayoutId id="2147485411" r:id="rId15"/>
    <p:sldLayoutId id="2147485412" r:id="rId16"/>
    <p:sldLayoutId id="2147485413" r:id="rId17"/>
    <p:sldLayoutId id="2147485414" r:id="rId18"/>
    <p:sldLayoutId id="2147485415" r:id="rId19"/>
    <p:sldLayoutId id="2147485416" r:id="rId20"/>
    <p:sldLayoutId id="2147485417" r:id="rId21"/>
    <p:sldLayoutId id="2147485418" r:id="rId22"/>
    <p:sldLayoutId id="2147485419" r:id="rId23"/>
    <p:sldLayoutId id="2147485420" r:id="rId24"/>
    <p:sldLayoutId id="2147485421" r:id="rId25"/>
    <p:sldLayoutId id="2147485422" r:id="rId26"/>
    <p:sldLayoutId id="2147485423" r:id="rId27"/>
    <p:sldLayoutId id="2147485424" r:id="rId28"/>
    <p:sldLayoutId id="2147485425" r:id="rId29"/>
    <p:sldLayoutId id="2147485426" r:id="rId30"/>
    <p:sldLayoutId id="2147485427" r:id="rId31"/>
    <p:sldLayoutId id="2147485428" r:id="rId32"/>
    <p:sldLayoutId id="2147485429" r:id="rId33"/>
    <p:sldLayoutId id="2147485430" r:id="rId34"/>
    <p:sldLayoutId id="2147485431" r:id="rId35"/>
    <p:sldLayoutId id="2147485432" r:id="rId36"/>
    <p:sldLayoutId id="2147485433" r:id="rId37"/>
    <p:sldLayoutId id="2147485434" r:id="rId38"/>
    <p:sldLayoutId id="2147485435" r:id="rId39"/>
    <p:sldLayoutId id="2147485436" r:id="rId40"/>
    <p:sldLayoutId id="2147485437" r:id="rId41"/>
    <p:sldLayoutId id="2147485438" r:id="rId42"/>
    <p:sldLayoutId id="2147485439" r:id="rId43"/>
    <p:sldLayoutId id="2147485440" r:id="rId44"/>
    <p:sldLayoutId id="2147485441" r:id="rId45"/>
    <p:sldLayoutId id="2147485442" r:id="rId46"/>
    <p:sldLayoutId id="2147485443" r:id="rId47"/>
    <p:sldLayoutId id="2147485444" r:id="rId48"/>
    <p:sldLayoutId id="2147485445" r:id="rId49"/>
    <p:sldLayoutId id="2147485446" r:id="rId50"/>
    <p:sldLayoutId id="2147485447" r:id="rId51"/>
    <p:sldLayoutId id="2147485448" r:id="rId52"/>
    <p:sldLayoutId id="2147485449" r:id="rId53"/>
    <p:sldLayoutId id="2147485450" r:id="rId54"/>
    <p:sldLayoutId id="2147485451" r:id="rId55"/>
    <p:sldLayoutId id="2147485452" r:id="rId56"/>
    <p:sldLayoutId id="2147485453" r:id="rId57"/>
    <p:sldLayoutId id="2147485454" r:id="rId58"/>
    <p:sldLayoutId id="2147485455" r:id="rId59"/>
    <p:sldLayoutId id="2147485456" r:id="rId60"/>
    <p:sldLayoutId id="2147485457" r:id="rId61"/>
    <p:sldLayoutId id="2147485458" r:id="rId62"/>
    <p:sldLayoutId id="2147485459" r:id="rId63"/>
    <p:sldLayoutId id="2147485460" r:id="rId64"/>
    <p:sldLayoutId id="2147485461" r:id="rId65"/>
    <p:sldLayoutId id="2147485462" r:id="rId66"/>
    <p:sldLayoutId id="2147485463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983">
          <p15:clr>
            <a:srgbClr val="F26B43"/>
          </p15:clr>
        </p15:guide>
        <p15:guide id="2" pos="297">
          <p15:clr>
            <a:srgbClr val="F26B43"/>
          </p15:clr>
        </p15:guide>
        <p15:guide id="3" pos="5463">
          <p15:clr>
            <a:srgbClr val="F26B43"/>
          </p15:clr>
        </p15:guide>
        <p15:guide id="4" orient="horz" pos="291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936240427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6" name="Diapositiva think-cell" r:id="rId74" imgW="270" imgH="270" progId="TCLayout.ActiveDocument.1">
                  <p:embed/>
                </p:oleObj>
              </mc:Choice>
              <mc:Fallback>
                <p:oleObj name="Diapositiva think-cell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7807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5" y="1825625"/>
            <a:ext cx="8657653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732117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4" r:id="rId1"/>
    <p:sldLayoutId id="2147485485" r:id="rId2"/>
    <p:sldLayoutId id="2147485486" r:id="rId3"/>
    <p:sldLayoutId id="2147485487" r:id="rId4"/>
    <p:sldLayoutId id="2147485488" r:id="rId5"/>
    <p:sldLayoutId id="2147485489" r:id="rId6"/>
    <p:sldLayoutId id="2147485490" r:id="rId7"/>
    <p:sldLayoutId id="2147485491" r:id="rId8"/>
    <p:sldLayoutId id="2147485492" r:id="rId9"/>
    <p:sldLayoutId id="2147485493" r:id="rId10"/>
    <p:sldLayoutId id="2147485494" r:id="rId11"/>
    <p:sldLayoutId id="2147485495" r:id="rId12"/>
    <p:sldLayoutId id="2147485496" r:id="rId13"/>
    <p:sldLayoutId id="2147485497" r:id="rId14"/>
    <p:sldLayoutId id="2147485498" r:id="rId15"/>
    <p:sldLayoutId id="2147485499" r:id="rId16"/>
    <p:sldLayoutId id="2147485500" r:id="rId17"/>
    <p:sldLayoutId id="2147485501" r:id="rId18"/>
    <p:sldLayoutId id="2147485502" r:id="rId19"/>
    <p:sldLayoutId id="2147485503" r:id="rId20"/>
    <p:sldLayoutId id="2147485504" r:id="rId21"/>
    <p:sldLayoutId id="2147485505" r:id="rId22"/>
    <p:sldLayoutId id="2147485506" r:id="rId23"/>
    <p:sldLayoutId id="2147485507" r:id="rId24"/>
    <p:sldLayoutId id="2147485508" r:id="rId25"/>
    <p:sldLayoutId id="2147485509" r:id="rId26"/>
    <p:sldLayoutId id="2147485510" r:id="rId27"/>
    <p:sldLayoutId id="2147485511" r:id="rId28"/>
    <p:sldLayoutId id="2147485512" r:id="rId29"/>
    <p:sldLayoutId id="2147485513" r:id="rId30"/>
    <p:sldLayoutId id="2147485514" r:id="rId31"/>
    <p:sldLayoutId id="2147485515" r:id="rId32"/>
    <p:sldLayoutId id="2147485516" r:id="rId33"/>
    <p:sldLayoutId id="2147485517" r:id="rId34"/>
    <p:sldLayoutId id="2147485518" r:id="rId35"/>
    <p:sldLayoutId id="2147485519" r:id="rId36"/>
    <p:sldLayoutId id="2147485520" r:id="rId37"/>
    <p:sldLayoutId id="2147485521" r:id="rId38"/>
    <p:sldLayoutId id="2147485522" r:id="rId39"/>
    <p:sldLayoutId id="2147485523" r:id="rId40"/>
    <p:sldLayoutId id="2147485524" r:id="rId41"/>
    <p:sldLayoutId id="2147485525" r:id="rId42"/>
    <p:sldLayoutId id="2147485526" r:id="rId43"/>
    <p:sldLayoutId id="2147485527" r:id="rId44"/>
    <p:sldLayoutId id="2147485528" r:id="rId45"/>
    <p:sldLayoutId id="2147485529" r:id="rId46"/>
    <p:sldLayoutId id="2147485530" r:id="rId47"/>
    <p:sldLayoutId id="2147485531" r:id="rId48"/>
    <p:sldLayoutId id="2147485532" r:id="rId49"/>
    <p:sldLayoutId id="2147485533" r:id="rId50"/>
    <p:sldLayoutId id="2147485534" r:id="rId51"/>
    <p:sldLayoutId id="2147485535" r:id="rId52"/>
    <p:sldLayoutId id="2147485536" r:id="rId53"/>
    <p:sldLayoutId id="2147485537" r:id="rId54"/>
    <p:sldLayoutId id="2147485538" r:id="rId55"/>
    <p:sldLayoutId id="2147485539" r:id="rId56"/>
    <p:sldLayoutId id="2147485540" r:id="rId57"/>
    <p:sldLayoutId id="2147485541" r:id="rId58"/>
    <p:sldLayoutId id="2147485542" r:id="rId59"/>
    <p:sldLayoutId id="2147485543" r:id="rId60"/>
    <p:sldLayoutId id="2147485544" r:id="rId61"/>
    <p:sldLayoutId id="2147485545" r:id="rId62"/>
    <p:sldLayoutId id="2147485546" r:id="rId63"/>
    <p:sldLayoutId id="2147485547" r:id="rId64"/>
    <p:sldLayoutId id="2147485548" r:id="rId65"/>
    <p:sldLayoutId id="2147485549" r:id="rId66"/>
    <p:sldLayoutId id="2147485550" r:id="rId67"/>
    <p:sldLayoutId id="2147485551" r:id="rId68"/>
    <p:sldLayoutId id="2147485552" r:id="rId6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722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85722" rtl="0" eaLnBrk="1" latinLnBrk="0" hangingPunct="1">
        <a:lnSpc>
          <a:spcPct val="110000"/>
        </a:lnSpc>
        <a:spcBef>
          <a:spcPts val="449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3275" indent="-129585" algn="l" defTabSz="685722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3356" indent="-124186" algn="l" defTabSz="685722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85722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85722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2383" indent="-114286" algn="l" defTabSz="685722" rtl="0" eaLnBrk="1" latinLnBrk="0" hangingPunct="1">
        <a:lnSpc>
          <a:spcPct val="90000"/>
        </a:lnSpc>
        <a:spcBef>
          <a:spcPts val="0"/>
        </a:spcBef>
        <a:spcAft>
          <a:spcPts val="449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85722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85722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1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85722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1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2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3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5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5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6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7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8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983">
          <p15:clr>
            <a:srgbClr val="F26B43"/>
          </p15:clr>
        </p15:guide>
        <p15:guide id="2" pos="297">
          <p15:clr>
            <a:srgbClr val="F26B43"/>
          </p15:clr>
        </p15:guide>
        <p15:guide id="3" pos="5463">
          <p15:clr>
            <a:srgbClr val="F26B43"/>
          </p15:clr>
        </p15:guide>
        <p15:guide id="4" orient="horz" pos="291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662572085"/>
              </p:ext>
            </p:extLst>
          </p:nvPr>
        </p:nvGraphicFramePr>
        <p:xfrm>
          <a:off x="1291" y="1591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8" name="Diapositiva think-cell" r:id="rId74" imgW="270" imgH="270" progId="TCLayout.ActiveDocument.1">
                  <p:embed/>
                </p:oleObj>
              </mc:Choice>
              <mc:Fallback>
                <p:oleObj name="Diapositiva think-cell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291" y="1591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3"/>
            </p:custDataLst>
          </p:nvPr>
        </p:nvSpPr>
        <p:spPr>
          <a:xfrm>
            <a:off x="0" y="3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7807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5" y="1825625"/>
            <a:ext cx="8657653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281923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4" r:id="rId1"/>
    <p:sldLayoutId id="2147485555" r:id="rId2"/>
    <p:sldLayoutId id="2147485556" r:id="rId3"/>
    <p:sldLayoutId id="2147485557" r:id="rId4"/>
    <p:sldLayoutId id="2147485558" r:id="rId5"/>
    <p:sldLayoutId id="2147485559" r:id="rId6"/>
    <p:sldLayoutId id="2147485560" r:id="rId7"/>
    <p:sldLayoutId id="2147485561" r:id="rId8"/>
    <p:sldLayoutId id="2147485562" r:id="rId9"/>
    <p:sldLayoutId id="2147485563" r:id="rId10"/>
    <p:sldLayoutId id="2147485564" r:id="rId11"/>
    <p:sldLayoutId id="2147485565" r:id="rId12"/>
    <p:sldLayoutId id="2147485566" r:id="rId13"/>
    <p:sldLayoutId id="2147485567" r:id="rId14"/>
    <p:sldLayoutId id="2147485568" r:id="rId15"/>
    <p:sldLayoutId id="2147485569" r:id="rId16"/>
    <p:sldLayoutId id="2147485570" r:id="rId17"/>
    <p:sldLayoutId id="2147485571" r:id="rId18"/>
    <p:sldLayoutId id="2147485572" r:id="rId19"/>
    <p:sldLayoutId id="2147485573" r:id="rId20"/>
    <p:sldLayoutId id="2147485574" r:id="rId21"/>
    <p:sldLayoutId id="2147485575" r:id="rId22"/>
    <p:sldLayoutId id="2147485576" r:id="rId23"/>
    <p:sldLayoutId id="2147485577" r:id="rId24"/>
    <p:sldLayoutId id="2147485578" r:id="rId25"/>
    <p:sldLayoutId id="2147485579" r:id="rId26"/>
    <p:sldLayoutId id="2147485580" r:id="rId27"/>
    <p:sldLayoutId id="2147485581" r:id="rId28"/>
    <p:sldLayoutId id="2147485582" r:id="rId29"/>
    <p:sldLayoutId id="2147485583" r:id="rId30"/>
    <p:sldLayoutId id="2147485584" r:id="rId31"/>
    <p:sldLayoutId id="2147485585" r:id="rId32"/>
    <p:sldLayoutId id="2147485586" r:id="rId33"/>
    <p:sldLayoutId id="2147485587" r:id="rId34"/>
    <p:sldLayoutId id="2147485588" r:id="rId35"/>
    <p:sldLayoutId id="2147485589" r:id="rId36"/>
    <p:sldLayoutId id="2147485590" r:id="rId37"/>
    <p:sldLayoutId id="2147485591" r:id="rId38"/>
    <p:sldLayoutId id="2147485592" r:id="rId39"/>
    <p:sldLayoutId id="2147485593" r:id="rId40"/>
    <p:sldLayoutId id="2147485594" r:id="rId41"/>
    <p:sldLayoutId id="2147485595" r:id="rId42"/>
    <p:sldLayoutId id="2147485596" r:id="rId43"/>
    <p:sldLayoutId id="2147485597" r:id="rId44"/>
    <p:sldLayoutId id="2147485598" r:id="rId45"/>
    <p:sldLayoutId id="2147485599" r:id="rId46"/>
    <p:sldLayoutId id="2147485600" r:id="rId47"/>
    <p:sldLayoutId id="2147485601" r:id="rId48"/>
    <p:sldLayoutId id="2147485602" r:id="rId49"/>
    <p:sldLayoutId id="2147485603" r:id="rId50"/>
    <p:sldLayoutId id="2147485604" r:id="rId51"/>
    <p:sldLayoutId id="2147485605" r:id="rId52"/>
    <p:sldLayoutId id="2147485606" r:id="rId53"/>
    <p:sldLayoutId id="2147485607" r:id="rId54"/>
    <p:sldLayoutId id="2147485608" r:id="rId55"/>
    <p:sldLayoutId id="2147485609" r:id="rId56"/>
    <p:sldLayoutId id="2147485610" r:id="rId57"/>
    <p:sldLayoutId id="2147485611" r:id="rId58"/>
    <p:sldLayoutId id="2147485612" r:id="rId59"/>
    <p:sldLayoutId id="2147485613" r:id="rId60"/>
    <p:sldLayoutId id="2147485614" r:id="rId61"/>
    <p:sldLayoutId id="2147485615" r:id="rId62"/>
    <p:sldLayoutId id="2147485616" r:id="rId63"/>
    <p:sldLayoutId id="2147485617" r:id="rId64"/>
    <p:sldLayoutId id="2147485618" r:id="rId65"/>
    <p:sldLayoutId id="2147485619" r:id="rId66"/>
    <p:sldLayoutId id="2147485620" r:id="rId67"/>
    <p:sldLayoutId id="2147485621" r:id="rId68"/>
    <p:sldLayoutId id="2147485622" r:id="rId6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722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85722" rtl="0" eaLnBrk="1" latinLnBrk="0" hangingPunct="1">
        <a:lnSpc>
          <a:spcPct val="110000"/>
        </a:lnSpc>
        <a:spcBef>
          <a:spcPts val="449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3275" indent="-129585" algn="l" defTabSz="685722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3356" indent="-124186" algn="l" defTabSz="685722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85722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85722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2383" indent="-114286" algn="l" defTabSz="685722" rtl="0" eaLnBrk="1" latinLnBrk="0" hangingPunct="1">
        <a:lnSpc>
          <a:spcPct val="90000"/>
        </a:lnSpc>
        <a:spcBef>
          <a:spcPts val="0"/>
        </a:spcBef>
        <a:spcAft>
          <a:spcPts val="449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85722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85722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1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85722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1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2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3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5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5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6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7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8" algn="l" defTabSz="685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983">
          <p15:clr>
            <a:srgbClr val="F26B43"/>
          </p15:clr>
        </p15:guide>
        <p15:guide id="2" pos="297">
          <p15:clr>
            <a:srgbClr val="F26B43"/>
          </p15:clr>
        </p15:guide>
        <p15:guide id="3" pos="5463">
          <p15:clr>
            <a:srgbClr val="F26B43"/>
          </p15:clr>
        </p15:guide>
        <p15:guide id="4" orient="horz" pos="291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442814544"/>
              </p:ext>
            </p:ext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00" name="Diapositiva think-cell" r:id="rId20" imgW="360" imgH="360" progId="TCLayout.ActiveDocument.1">
                  <p:embed/>
                </p:oleObj>
              </mc:Choice>
              <mc:Fallback>
                <p:oleObj name="Diapositiva think-cell" r:id="rId20" imgW="360" imgH="360" progId="TCLayout.ActiveDocument.1">
                  <p:embed/>
                  <p:pic>
                    <p:nvPicPr>
                      <p:cNvPr id="307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xmlns="" id="{4B03F02D-427A-4F4C-9AC1-9D128C4E47D8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075" name="Rectangle 10"/>
          <p:cNvSpPr>
            <a:spLocks noChangeArrowheads="1"/>
          </p:cNvSpPr>
          <p:nvPr/>
        </p:nvSpPr>
        <p:spPr bwMode="auto">
          <a:xfrm>
            <a:off x="2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>
              <a:lnSpc>
                <a:spcPts val="2500"/>
              </a:lnSpc>
            </a:pPr>
            <a:endParaRPr lang="en-US" sz="1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76" name="Title Placeholder 1"/>
          <p:cNvSpPr>
            <a:spLocks noGrp="1"/>
          </p:cNvSpPr>
          <p:nvPr>
            <p:ph type="title"/>
          </p:nvPr>
        </p:nvSpPr>
        <p:spPr bwMode="auto">
          <a:xfrm>
            <a:off x="477727" y="149413"/>
            <a:ext cx="869172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07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3426" y="1933675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402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B984CBE4-91B9-4CD3-88AC-5D78FD7046D4}" type="slidenum">
              <a:rPr lang="en-US">
                <a:solidFill>
                  <a:srgbClr val="000000"/>
                </a:solidFill>
                <a:latin typeface="Arial"/>
              </a:rPr>
              <a:pPr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79" name="Slide Number Line"/>
          <p:cNvSpPr>
            <a:spLocks noChangeShapeType="1"/>
          </p:cNvSpPr>
          <p:nvPr/>
        </p:nvSpPr>
        <p:spPr bwMode="auto">
          <a:xfrm>
            <a:off x="9269413" y="6734277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80" name="Header Line"/>
          <p:cNvSpPr>
            <a:spLocks noChangeShapeType="1"/>
          </p:cNvSpPr>
          <p:nvPr userDrawn="1"/>
        </p:nvSpPr>
        <p:spPr bwMode="auto">
          <a:xfrm>
            <a:off x="2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081" name="Picture 7" descr="ADR_logo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7"/>
          <a:stretch/>
        </p:blipFill>
        <p:spPr bwMode="auto">
          <a:xfrm>
            <a:off x="9300154" y="1334"/>
            <a:ext cx="615961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758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24" r:id="rId1"/>
    <p:sldLayoutId id="2147485625" r:id="rId2"/>
    <p:sldLayoutId id="2147485626" r:id="rId3"/>
    <p:sldLayoutId id="2147485627" r:id="rId4"/>
    <p:sldLayoutId id="2147485628" r:id="rId5"/>
    <p:sldLayoutId id="2147485629" r:id="rId6"/>
    <p:sldLayoutId id="2147485630" r:id="rId7"/>
    <p:sldLayoutId id="2147485631" r:id="rId8"/>
    <p:sldLayoutId id="2147485632" r:id="rId9"/>
    <p:sldLayoutId id="2147485633" r:id="rId10"/>
    <p:sldLayoutId id="2147485634" r:id="rId11"/>
    <p:sldLayoutId id="2147485635" r:id="rId12"/>
    <p:sldLayoutId id="2147485636" r:id="rId13"/>
    <p:sldLayoutId id="2147485637" r:id="rId14"/>
    <p:sldLayoutId id="2147485638" r:id="rId15"/>
  </p:sldLayoutIdLst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93000"/>
        </a:lnSpc>
        <a:spcBef>
          <a:spcPts val="25"/>
        </a:spcBef>
        <a:spcAft>
          <a:spcPct val="0"/>
        </a:spcAft>
        <a:buFont typeface="Arial" pitchFamily="34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0" fontAlgn="base" hangingPunct="0">
        <a:lnSpc>
          <a:spcPct val="93000"/>
        </a:lnSpc>
        <a:spcBef>
          <a:spcPts val="1200"/>
        </a:spcBef>
        <a:spcAft>
          <a:spcPct val="0"/>
        </a:spcAft>
        <a:buFont typeface="Arial" pitchFamily="34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0" fontAlgn="base" hangingPunct="0">
        <a:lnSpc>
          <a:spcPct val="93000"/>
        </a:lnSpc>
        <a:spcBef>
          <a:spcPts val="38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177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697265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24" name="Diapositiva think-cell" r:id="rId22" imgW="360" imgH="360" progId="TCLayout.ActiveDocument.1">
                  <p:embed/>
                </p:oleObj>
              </mc:Choice>
              <mc:Fallback>
                <p:oleObj name="Diapositiva think-cell" r:id="rId22" imgW="360" imgH="360" progId="TCLayout.ActiveDocument.1">
                  <p:embed/>
                  <p:pic>
                    <p:nvPicPr>
                      <p:cNvPr id="1026" name="Object 317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 fontAlgn="base">
              <a:spcBef>
                <a:spcPct val="0"/>
              </a:spcBef>
              <a:spcAft>
                <a:spcPct val="0"/>
              </a:spcAft>
            </a:pPr>
            <a:endParaRPr lang="it-IT" sz="2100" b="1" i="0" baseline="0" dirty="0">
              <a:solidFill>
                <a:srgbClr val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307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/>
          <a:p>
            <a:pPr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77838" y="149230"/>
            <a:ext cx="8691562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lo stile del titolo</a:t>
            </a:r>
            <a:endParaRPr lang="en-US" altLang="it-IT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3424" y="1933585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it-IT"/>
              <a:t>Click to edit Master text styles</a:t>
            </a:r>
          </a:p>
          <a:p>
            <a:pPr lvl="1"/>
            <a:r>
              <a:rPr lang="en-US" altLang="it-IT"/>
              <a:t>Second level</a:t>
            </a:r>
          </a:p>
          <a:p>
            <a:pPr lvl="2"/>
            <a:r>
              <a:rPr lang="en-US" altLang="it-IT"/>
              <a:t>Third level</a:t>
            </a:r>
          </a:p>
          <a:p>
            <a:pPr lvl="3"/>
            <a:r>
              <a:rPr lang="en-US" altLang="it-IT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310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42673A-ED5A-4BE6-BCA6-49AE99459FD3}" type="slidenum">
              <a:rPr lang="en-US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Slide Number Line"/>
          <p:cNvSpPr>
            <a:spLocks noChangeShapeType="1"/>
          </p:cNvSpPr>
          <p:nvPr/>
        </p:nvSpPr>
        <p:spPr bwMode="auto">
          <a:xfrm>
            <a:off x="9269413" y="673418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80" name="Header Line"/>
          <p:cNvSpPr>
            <a:spLocks noChangeShapeType="1"/>
          </p:cNvSpPr>
          <p:nvPr/>
        </p:nvSpPr>
        <p:spPr bwMode="auto">
          <a:xfrm>
            <a:off x="0" y="942975"/>
            <a:ext cx="9907588" cy="0"/>
          </a:xfrm>
          <a:prstGeom prst="line">
            <a:avLst/>
          </a:prstGeom>
          <a:noFill/>
          <a:ln w="9525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3" name="Picture 7" descr="ADR_logo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48"/>
          <a:stretch>
            <a:fillRect/>
          </a:stretch>
        </p:blipFill>
        <p:spPr bwMode="auto">
          <a:xfrm>
            <a:off x="9299575" y="1598"/>
            <a:ext cx="6159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1858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40" r:id="rId1"/>
    <p:sldLayoutId id="2147485641" r:id="rId2"/>
    <p:sldLayoutId id="2147485642" r:id="rId3"/>
    <p:sldLayoutId id="2147485643" r:id="rId4"/>
    <p:sldLayoutId id="2147485644" r:id="rId5"/>
    <p:sldLayoutId id="2147485645" r:id="rId6"/>
    <p:sldLayoutId id="2147485646" r:id="rId7"/>
    <p:sldLayoutId id="2147485647" r:id="rId8"/>
    <p:sldLayoutId id="2147485648" r:id="rId9"/>
    <p:sldLayoutId id="2147485649" r:id="rId10"/>
    <p:sldLayoutId id="2147485650" r:id="rId11"/>
    <p:sldLayoutId id="2147485651" r:id="rId12"/>
    <p:sldLayoutId id="2147485652" r:id="rId13"/>
    <p:sldLayoutId id="2147485653" r:id="rId14"/>
    <p:sldLayoutId id="2147485654" r:id="rId15"/>
    <p:sldLayoutId id="2147485655" r:id="rId16"/>
    <p:sldLayoutId id="2147485656" r:id="rId17"/>
  </p:sldLayoutIdLst>
  <p:hf hdr="0" dt="0"/>
  <p:txStyles>
    <p:titleStyle>
      <a:lvl1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lnSpc>
          <a:spcPct val="93000"/>
        </a:lnSpc>
        <a:spcBef>
          <a:spcPts val="25"/>
        </a:spcBef>
        <a:spcAft>
          <a:spcPct val="0"/>
        </a:spcAft>
        <a:buFont typeface="Arial" pitchFamily="34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1" fontAlgn="base" hangingPunct="1">
        <a:lnSpc>
          <a:spcPct val="93000"/>
        </a:lnSpc>
        <a:spcBef>
          <a:spcPts val="1200"/>
        </a:spcBef>
        <a:spcAft>
          <a:spcPct val="0"/>
        </a:spcAft>
        <a:buFont typeface="Arial" pitchFamily="34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1" fontAlgn="base" hangingPunct="1">
        <a:lnSpc>
          <a:spcPct val="93000"/>
        </a:lnSpc>
        <a:spcBef>
          <a:spcPts val="38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696107512"/>
              </p:ext>
            </p:extLst>
          </p:nvPr>
        </p:nvGraphicFramePr>
        <p:xfrm>
          <a:off x="1291" y="1596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89" name="Diapositiva think-cell" r:id="rId72" imgW="270" imgH="270" progId="TCLayout.ActiveDocument.1">
                  <p:embed/>
                </p:oleObj>
              </mc:Choice>
              <mc:Fallback>
                <p:oleObj name="Diapositiva think-cell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291" y="1596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8"/>
            <a:ext cx="171979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7809" y="149415"/>
            <a:ext cx="8691727" cy="68421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5" y="1825625"/>
            <a:ext cx="8657653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95821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58" r:id="rId1"/>
    <p:sldLayoutId id="2147485659" r:id="rId2"/>
    <p:sldLayoutId id="2147485660" r:id="rId3"/>
    <p:sldLayoutId id="2147485661" r:id="rId4"/>
    <p:sldLayoutId id="2147485662" r:id="rId5"/>
    <p:sldLayoutId id="2147485663" r:id="rId6"/>
    <p:sldLayoutId id="2147485664" r:id="rId7"/>
    <p:sldLayoutId id="2147485665" r:id="rId8"/>
    <p:sldLayoutId id="2147485666" r:id="rId9"/>
    <p:sldLayoutId id="2147485667" r:id="rId10"/>
    <p:sldLayoutId id="2147485668" r:id="rId11"/>
    <p:sldLayoutId id="2147485669" r:id="rId12"/>
    <p:sldLayoutId id="2147485670" r:id="rId13"/>
    <p:sldLayoutId id="2147485671" r:id="rId14"/>
    <p:sldLayoutId id="2147485672" r:id="rId15"/>
    <p:sldLayoutId id="2147485673" r:id="rId16"/>
    <p:sldLayoutId id="2147485674" r:id="rId17"/>
    <p:sldLayoutId id="2147485675" r:id="rId18"/>
    <p:sldLayoutId id="2147485676" r:id="rId19"/>
    <p:sldLayoutId id="2147485677" r:id="rId20"/>
    <p:sldLayoutId id="2147485678" r:id="rId21"/>
    <p:sldLayoutId id="2147485679" r:id="rId22"/>
    <p:sldLayoutId id="2147485680" r:id="rId23"/>
    <p:sldLayoutId id="2147485681" r:id="rId24"/>
    <p:sldLayoutId id="2147485682" r:id="rId25"/>
    <p:sldLayoutId id="2147485683" r:id="rId26"/>
    <p:sldLayoutId id="2147485684" r:id="rId27"/>
    <p:sldLayoutId id="2147485685" r:id="rId28"/>
    <p:sldLayoutId id="2147485686" r:id="rId29"/>
    <p:sldLayoutId id="2147485687" r:id="rId30"/>
    <p:sldLayoutId id="2147485688" r:id="rId31"/>
    <p:sldLayoutId id="2147485689" r:id="rId32"/>
    <p:sldLayoutId id="2147485690" r:id="rId33"/>
    <p:sldLayoutId id="2147485691" r:id="rId34"/>
    <p:sldLayoutId id="2147485692" r:id="rId35"/>
    <p:sldLayoutId id="2147485693" r:id="rId36"/>
    <p:sldLayoutId id="2147485694" r:id="rId37"/>
    <p:sldLayoutId id="2147485695" r:id="rId38"/>
    <p:sldLayoutId id="2147485696" r:id="rId39"/>
    <p:sldLayoutId id="2147485697" r:id="rId40"/>
    <p:sldLayoutId id="2147485698" r:id="rId41"/>
    <p:sldLayoutId id="2147485699" r:id="rId42"/>
    <p:sldLayoutId id="2147485700" r:id="rId43"/>
    <p:sldLayoutId id="2147485701" r:id="rId44"/>
    <p:sldLayoutId id="2147485702" r:id="rId45"/>
    <p:sldLayoutId id="2147485703" r:id="rId46"/>
    <p:sldLayoutId id="2147485704" r:id="rId47"/>
    <p:sldLayoutId id="2147485705" r:id="rId48"/>
    <p:sldLayoutId id="2147485706" r:id="rId49"/>
    <p:sldLayoutId id="2147485707" r:id="rId50"/>
    <p:sldLayoutId id="2147485708" r:id="rId51"/>
    <p:sldLayoutId id="2147485709" r:id="rId52"/>
    <p:sldLayoutId id="2147485710" r:id="rId53"/>
    <p:sldLayoutId id="2147485711" r:id="rId54"/>
    <p:sldLayoutId id="2147485712" r:id="rId55"/>
    <p:sldLayoutId id="2147485713" r:id="rId56"/>
    <p:sldLayoutId id="2147485714" r:id="rId57"/>
    <p:sldLayoutId id="2147485715" r:id="rId58"/>
    <p:sldLayoutId id="2147485716" r:id="rId59"/>
    <p:sldLayoutId id="2147485717" r:id="rId60"/>
    <p:sldLayoutId id="2147485718" r:id="rId61"/>
    <p:sldLayoutId id="2147485719" r:id="rId62"/>
    <p:sldLayoutId id="2147485720" r:id="rId63"/>
    <p:sldLayoutId id="2147485721" r:id="rId64"/>
    <p:sldLayoutId id="2147485722" r:id="rId65"/>
    <p:sldLayoutId id="2147485723" r:id="rId66"/>
    <p:sldLayoutId id="2147485724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983">
          <p15:clr>
            <a:srgbClr val="F26B43"/>
          </p15:clr>
        </p15:guide>
        <p15:guide id="2" pos="297">
          <p15:clr>
            <a:srgbClr val="F26B43"/>
          </p15:clr>
        </p15:guide>
        <p15:guide id="3" pos="5463">
          <p15:clr>
            <a:srgbClr val="F26B43"/>
          </p15:clr>
        </p15:guide>
        <p15:guide id="4" orient="horz" pos="291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24.xml"/><Relationship Id="rId2" Type="http://schemas.openxmlformats.org/officeDocument/2006/relationships/tags" Target="../tags/tag623.xml"/><Relationship Id="rId1" Type="http://schemas.openxmlformats.org/officeDocument/2006/relationships/vmlDrawing" Target="../drawings/vmlDrawing36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76.bin"/><Relationship Id="rId4" Type="http://schemas.openxmlformats.org/officeDocument/2006/relationships/slideLayout" Target="../slideLayouts/slideLayout15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70.xml"/><Relationship Id="rId7" Type="http://schemas.openxmlformats.org/officeDocument/2006/relationships/image" Target="../media/image50.png"/><Relationship Id="rId2" Type="http://schemas.openxmlformats.org/officeDocument/2006/relationships/tags" Target="../tags/tag669.xml"/><Relationship Id="rId1" Type="http://schemas.openxmlformats.org/officeDocument/2006/relationships/vmlDrawing" Target="../drawings/vmlDrawing37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85.bin"/><Relationship Id="rId4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72.xml"/><Relationship Id="rId7" Type="http://schemas.openxmlformats.org/officeDocument/2006/relationships/image" Target="../media/image51.png"/><Relationship Id="rId2" Type="http://schemas.openxmlformats.org/officeDocument/2006/relationships/tags" Target="../tags/tag671.xml"/><Relationship Id="rId1" Type="http://schemas.openxmlformats.org/officeDocument/2006/relationships/vmlDrawing" Target="../drawings/vmlDrawing37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86.bin"/><Relationship Id="rId4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674.xml"/><Relationship Id="rId7" Type="http://schemas.openxmlformats.org/officeDocument/2006/relationships/image" Target="../media/image52.png"/><Relationship Id="rId2" Type="http://schemas.openxmlformats.org/officeDocument/2006/relationships/tags" Target="../tags/tag673.xml"/><Relationship Id="rId1" Type="http://schemas.openxmlformats.org/officeDocument/2006/relationships/vmlDrawing" Target="../drawings/vmlDrawing37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87.bin"/><Relationship Id="rId4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76.xml"/><Relationship Id="rId2" Type="http://schemas.openxmlformats.org/officeDocument/2006/relationships/tags" Target="../tags/tag675.xml"/><Relationship Id="rId1" Type="http://schemas.openxmlformats.org/officeDocument/2006/relationships/vmlDrawing" Target="../drawings/vmlDrawing38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88.bin"/><Relationship Id="rId4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../media/image71.png"/><Relationship Id="rId3" Type="http://schemas.openxmlformats.org/officeDocument/2006/relationships/tags" Target="../tags/tag678.xml"/><Relationship Id="rId21" Type="http://schemas.openxmlformats.org/officeDocument/2006/relationships/image" Target="../media/image66.png"/><Relationship Id="rId7" Type="http://schemas.openxmlformats.org/officeDocument/2006/relationships/image" Target="../media/image18.emf"/><Relationship Id="rId12" Type="http://schemas.openxmlformats.org/officeDocument/2006/relationships/image" Target="../media/image57.jpeg"/><Relationship Id="rId17" Type="http://schemas.openxmlformats.org/officeDocument/2006/relationships/image" Target="../media/image62.png"/><Relationship Id="rId25" Type="http://schemas.openxmlformats.org/officeDocument/2006/relationships/image" Target="../media/image70.png"/><Relationship Id="rId33" Type="http://schemas.openxmlformats.org/officeDocument/2006/relationships/image" Target="../media/image78.png"/><Relationship Id="rId2" Type="http://schemas.openxmlformats.org/officeDocument/2006/relationships/tags" Target="../tags/tag677.xml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29" Type="http://schemas.openxmlformats.org/officeDocument/2006/relationships/image" Target="../media/image74.png"/><Relationship Id="rId1" Type="http://schemas.openxmlformats.org/officeDocument/2006/relationships/vmlDrawing" Target="../drawings/vmlDrawing381.vml"/><Relationship Id="rId6" Type="http://schemas.openxmlformats.org/officeDocument/2006/relationships/oleObject" Target="../embeddings/oleObject389.bin"/><Relationship Id="rId11" Type="http://schemas.openxmlformats.org/officeDocument/2006/relationships/image" Target="../media/image56.png"/><Relationship Id="rId24" Type="http://schemas.openxmlformats.org/officeDocument/2006/relationships/image" Target="../media/image69.png"/><Relationship Id="rId32" Type="http://schemas.openxmlformats.org/officeDocument/2006/relationships/image" Target="../media/image77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60.png"/><Relationship Id="rId23" Type="http://schemas.openxmlformats.org/officeDocument/2006/relationships/image" Target="../media/image68.png"/><Relationship Id="rId28" Type="http://schemas.openxmlformats.org/officeDocument/2006/relationships/image" Target="../media/image73.png"/><Relationship Id="rId10" Type="http://schemas.openxmlformats.org/officeDocument/2006/relationships/image" Target="../media/image55.png"/><Relationship Id="rId19" Type="http://schemas.openxmlformats.org/officeDocument/2006/relationships/image" Target="../media/image64.jpeg"/><Relationship Id="rId31" Type="http://schemas.openxmlformats.org/officeDocument/2006/relationships/image" Target="../media/image76.pn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54.jpeg"/><Relationship Id="rId14" Type="http://schemas.openxmlformats.org/officeDocument/2006/relationships/image" Target="../media/image59.jpeg"/><Relationship Id="rId22" Type="http://schemas.openxmlformats.org/officeDocument/2006/relationships/image" Target="../media/image67.png"/><Relationship Id="rId27" Type="http://schemas.openxmlformats.org/officeDocument/2006/relationships/image" Target="../media/image72.png"/><Relationship Id="rId30" Type="http://schemas.openxmlformats.org/officeDocument/2006/relationships/image" Target="../media/image75.png"/><Relationship Id="rId8" Type="http://schemas.openxmlformats.org/officeDocument/2006/relationships/image" Target="../media/image5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80.xml"/><Relationship Id="rId7" Type="http://schemas.openxmlformats.org/officeDocument/2006/relationships/image" Target="../media/image79.emf"/><Relationship Id="rId2" Type="http://schemas.openxmlformats.org/officeDocument/2006/relationships/tags" Target="../tags/tag679.xml"/><Relationship Id="rId1" Type="http://schemas.openxmlformats.org/officeDocument/2006/relationships/vmlDrawing" Target="../drawings/vmlDrawing382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390.bin"/><Relationship Id="rId4" Type="http://schemas.openxmlformats.org/officeDocument/2006/relationships/slideLayout" Target="../slideLayouts/slideLayout29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87.xml"/><Relationship Id="rId13" Type="http://schemas.openxmlformats.org/officeDocument/2006/relationships/tags" Target="../tags/tag692.xml"/><Relationship Id="rId18" Type="http://schemas.openxmlformats.org/officeDocument/2006/relationships/tags" Target="../tags/tag697.xml"/><Relationship Id="rId26" Type="http://schemas.openxmlformats.org/officeDocument/2006/relationships/tags" Target="../tags/tag705.xml"/><Relationship Id="rId3" Type="http://schemas.openxmlformats.org/officeDocument/2006/relationships/tags" Target="../tags/tag682.xml"/><Relationship Id="rId21" Type="http://schemas.openxmlformats.org/officeDocument/2006/relationships/tags" Target="../tags/tag700.xml"/><Relationship Id="rId7" Type="http://schemas.openxmlformats.org/officeDocument/2006/relationships/tags" Target="../tags/tag686.xml"/><Relationship Id="rId12" Type="http://schemas.openxmlformats.org/officeDocument/2006/relationships/tags" Target="../tags/tag691.xml"/><Relationship Id="rId17" Type="http://schemas.openxmlformats.org/officeDocument/2006/relationships/tags" Target="../tags/tag696.xml"/><Relationship Id="rId25" Type="http://schemas.openxmlformats.org/officeDocument/2006/relationships/tags" Target="../tags/tag704.xml"/><Relationship Id="rId2" Type="http://schemas.openxmlformats.org/officeDocument/2006/relationships/tags" Target="../tags/tag681.xml"/><Relationship Id="rId16" Type="http://schemas.openxmlformats.org/officeDocument/2006/relationships/tags" Target="../tags/tag695.xml"/><Relationship Id="rId20" Type="http://schemas.openxmlformats.org/officeDocument/2006/relationships/tags" Target="../tags/tag699.xml"/><Relationship Id="rId29" Type="http://schemas.openxmlformats.org/officeDocument/2006/relationships/notesSlide" Target="../notesSlides/notesSlide5.xml"/><Relationship Id="rId1" Type="http://schemas.openxmlformats.org/officeDocument/2006/relationships/vmlDrawing" Target="../drawings/vmlDrawing383.vml"/><Relationship Id="rId6" Type="http://schemas.openxmlformats.org/officeDocument/2006/relationships/tags" Target="../tags/tag685.xml"/><Relationship Id="rId11" Type="http://schemas.openxmlformats.org/officeDocument/2006/relationships/tags" Target="../tags/tag690.xml"/><Relationship Id="rId24" Type="http://schemas.openxmlformats.org/officeDocument/2006/relationships/tags" Target="../tags/tag703.xml"/><Relationship Id="rId32" Type="http://schemas.openxmlformats.org/officeDocument/2006/relationships/chart" Target="../charts/chart2.xml"/><Relationship Id="rId5" Type="http://schemas.openxmlformats.org/officeDocument/2006/relationships/tags" Target="../tags/tag684.xml"/><Relationship Id="rId15" Type="http://schemas.openxmlformats.org/officeDocument/2006/relationships/tags" Target="../tags/tag694.xml"/><Relationship Id="rId23" Type="http://schemas.openxmlformats.org/officeDocument/2006/relationships/tags" Target="../tags/tag702.xml"/><Relationship Id="rId28" Type="http://schemas.openxmlformats.org/officeDocument/2006/relationships/slideLayout" Target="../slideLayouts/slideLayout30.xml"/><Relationship Id="rId10" Type="http://schemas.openxmlformats.org/officeDocument/2006/relationships/tags" Target="../tags/tag689.xml"/><Relationship Id="rId19" Type="http://schemas.openxmlformats.org/officeDocument/2006/relationships/tags" Target="../tags/tag698.xml"/><Relationship Id="rId31" Type="http://schemas.openxmlformats.org/officeDocument/2006/relationships/image" Target="../media/image19.emf"/><Relationship Id="rId4" Type="http://schemas.openxmlformats.org/officeDocument/2006/relationships/tags" Target="../tags/tag683.xml"/><Relationship Id="rId9" Type="http://schemas.openxmlformats.org/officeDocument/2006/relationships/tags" Target="../tags/tag688.xml"/><Relationship Id="rId14" Type="http://schemas.openxmlformats.org/officeDocument/2006/relationships/tags" Target="../tags/tag693.xml"/><Relationship Id="rId22" Type="http://schemas.openxmlformats.org/officeDocument/2006/relationships/tags" Target="../tags/tag701.xml"/><Relationship Id="rId27" Type="http://schemas.openxmlformats.org/officeDocument/2006/relationships/tags" Target="../tags/tag706.xml"/><Relationship Id="rId30" Type="http://schemas.openxmlformats.org/officeDocument/2006/relationships/oleObject" Target="../embeddings/oleObject391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13.xml"/><Relationship Id="rId13" Type="http://schemas.openxmlformats.org/officeDocument/2006/relationships/tags" Target="../tags/tag718.xml"/><Relationship Id="rId18" Type="http://schemas.openxmlformats.org/officeDocument/2006/relationships/tags" Target="../tags/tag723.xml"/><Relationship Id="rId26" Type="http://schemas.openxmlformats.org/officeDocument/2006/relationships/tags" Target="../tags/tag731.xml"/><Relationship Id="rId3" Type="http://schemas.openxmlformats.org/officeDocument/2006/relationships/tags" Target="../tags/tag708.xml"/><Relationship Id="rId21" Type="http://schemas.openxmlformats.org/officeDocument/2006/relationships/tags" Target="../tags/tag726.xml"/><Relationship Id="rId7" Type="http://schemas.openxmlformats.org/officeDocument/2006/relationships/tags" Target="../tags/tag712.xml"/><Relationship Id="rId12" Type="http://schemas.openxmlformats.org/officeDocument/2006/relationships/tags" Target="../tags/tag717.xml"/><Relationship Id="rId17" Type="http://schemas.openxmlformats.org/officeDocument/2006/relationships/tags" Target="../tags/tag722.xml"/><Relationship Id="rId25" Type="http://schemas.openxmlformats.org/officeDocument/2006/relationships/tags" Target="../tags/tag730.xml"/><Relationship Id="rId2" Type="http://schemas.openxmlformats.org/officeDocument/2006/relationships/tags" Target="../tags/tag707.xml"/><Relationship Id="rId16" Type="http://schemas.openxmlformats.org/officeDocument/2006/relationships/tags" Target="../tags/tag721.xml"/><Relationship Id="rId20" Type="http://schemas.openxmlformats.org/officeDocument/2006/relationships/tags" Target="../tags/tag725.xml"/><Relationship Id="rId29" Type="http://schemas.openxmlformats.org/officeDocument/2006/relationships/image" Target="../media/image48.emf"/><Relationship Id="rId1" Type="http://schemas.openxmlformats.org/officeDocument/2006/relationships/vmlDrawing" Target="../drawings/vmlDrawing384.vml"/><Relationship Id="rId6" Type="http://schemas.openxmlformats.org/officeDocument/2006/relationships/tags" Target="../tags/tag711.xml"/><Relationship Id="rId11" Type="http://schemas.openxmlformats.org/officeDocument/2006/relationships/tags" Target="../tags/tag716.xml"/><Relationship Id="rId24" Type="http://schemas.openxmlformats.org/officeDocument/2006/relationships/tags" Target="../tags/tag729.xml"/><Relationship Id="rId5" Type="http://schemas.openxmlformats.org/officeDocument/2006/relationships/tags" Target="../tags/tag710.xml"/><Relationship Id="rId15" Type="http://schemas.openxmlformats.org/officeDocument/2006/relationships/tags" Target="../tags/tag720.xml"/><Relationship Id="rId23" Type="http://schemas.openxmlformats.org/officeDocument/2006/relationships/tags" Target="../tags/tag728.xml"/><Relationship Id="rId28" Type="http://schemas.openxmlformats.org/officeDocument/2006/relationships/oleObject" Target="../embeddings/oleObject392.bin"/><Relationship Id="rId10" Type="http://schemas.openxmlformats.org/officeDocument/2006/relationships/tags" Target="../tags/tag715.xml"/><Relationship Id="rId19" Type="http://schemas.openxmlformats.org/officeDocument/2006/relationships/tags" Target="../tags/tag724.xml"/><Relationship Id="rId4" Type="http://schemas.openxmlformats.org/officeDocument/2006/relationships/tags" Target="../tags/tag709.xml"/><Relationship Id="rId9" Type="http://schemas.openxmlformats.org/officeDocument/2006/relationships/tags" Target="../tags/tag714.xml"/><Relationship Id="rId14" Type="http://schemas.openxmlformats.org/officeDocument/2006/relationships/tags" Target="../tags/tag719.xml"/><Relationship Id="rId22" Type="http://schemas.openxmlformats.org/officeDocument/2006/relationships/tags" Target="../tags/tag727.xml"/><Relationship Id="rId27" Type="http://schemas.openxmlformats.org/officeDocument/2006/relationships/slideLayout" Target="../slideLayouts/slideLayout71.xml"/><Relationship Id="rId30" Type="http://schemas.openxmlformats.org/officeDocument/2006/relationships/chart" Target="../charts/char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738.xml"/><Relationship Id="rId13" Type="http://schemas.openxmlformats.org/officeDocument/2006/relationships/image" Target="../media/image26.emf"/><Relationship Id="rId3" Type="http://schemas.openxmlformats.org/officeDocument/2006/relationships/tags" Target="../tags/tag733.xml"/><Relationship Id="rId7" Type="http://schemas.openxmlformats.org/officeDocument/2006/relationships/tags" Target="../tags/tag737.xml"/><Relationship Id="rId12" Type="http://schemas.openxmlformats.org/officeDocument/2006/relationships/oleObject" Target="../embeddings/oleObject393.bin"/><Relationship Id="rId2" Type="http://schemas.openxmlformats.org/officeDocument/2006/relationships/tags" Target="../tags/tag732.xml"/><Relationship Id="rId1" Type="http://schemas.openxmlformats.org/officeDocument/2006/relationships/vmlDrawing" Target="../drawings/vmlDrawing385.vml"/><Relationship Id="rId6" Type="http://schemas.openxmlformats.org/officeDocument/2006/relationships/tags" Target="../tags/tag736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735.xml"/><Relationship Id="rId10" Type="http://schemas.openxmlformats.org/officeDocument/2006/relationships/slideLayout" Target="../slideLayouts/slideLayout71.xml"/><Relationship Id="rId4" Type="http://schemas.openxmlformats.org/officeDocument/2006/relationships/tags" Target="../tags/tag734.xml"/><Relationship Id="rId9" Type="http://schemas.openxmlformats.org/officeDocument/2006/relationships/tags" Target="../tags/tag739.xml"/><Relationship Id="rId14" Type="http://schemas.openxmlformats.org/officeDocument/2006/relationships/chart" Target="../charts/char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41.xml"/><Relationship Id="rId7" Type="http://schemas.openxmlformats.org/officeDocument/2006/relationships/image" Target="../media/image26.emf"/><Relationship Id="rId2" Type="http://schemas.openxmlformats.org/officeDocument/2006/relationships/tags" Target="../tags/tag740.xml"/><Relationship Id="rId1" Type="http://schemas.openxmlformats.org/officeDocument/2006/relationships/vmlDrawing" Target="../drawings/vmlDrawing386.vml"/><Relationship Id="rId6" Type="http://schemas.openxmlformats.org/officeDocument/2006/relationships/oleObject" Target="../embeddings/oleObject39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636.xml"/><Relationship Id="rId18" Type="http://schemas.openxmlformats.org/officeDocument/2006/relationships/tags" Target="../tags/tag641.xml"/><Relationship Id="rId26" Type="http://schemas.openxmlformats.org/officeDocument/2006/relationships/tags" Target="../tags/tag649.xml"/><Relationship Id="rId3" Type="http://schemas.openxmlformats.org/officeDocument/2006/relationships/tags" Target="../tags/tag626.xml"/><Relationship Id="rId21" Type="http://schemas.openxmlformats.org/officeDocument/2006/relationships/tags" Target="../tags/tag644.xml"/><Relationship Id="rId34" Type="http://schemas.openxmlformats.org/officeDocument/2006/relationships/image" Target="../media/image18.emf"/><Relationship Id="rId7" Type="http://schemas.openxmlformats.org/officeDocument/2006/relationships/tags" Target="../tags/tag630.xml"/><Relationship Id="rId12" Type="http://schemas.openxmlformats.org/officeDocument/2006/relationships/tags" Target="../tags/tag635.xml"/><Relationship Id="rId17" Type="http://schemas.openxmlformats.org/officeDocument/2006/relationships/tags" Target="../tags/tag640.xml"/><Relationship Id="rId25" Type="http://schemas.openxmlformats.org/officeDocument/2006/relationships/tags" Target="../tags/tag648.xml"/><Relationship Id="rId33" Type="http://schemas.openxmlformats.org/officeDocument/2006/relationships/oleObject" Target="../embeddings/oleObject377.bin"/><Relationship Id="rId2" Type="http://schemas.openxmlformats.org/officeDocument/2006/relationships/tags" Target="../tags/tag625.xml"/><Relationship Id="rId16" Type="http://schemas.openxmlformats.org/officeDocument/2006/relationships/tags" Target="../tags/tag639.xml"/><Relationship Id="rId20" Type="http://schemas.openxmlformats.org/officeDocument/2006/relationships/tags" Target="../tags/tag643.xml"/><Relationship Id="rId29" Type="http://schemas.openxmlformats.org/officeDocument/2006/relationships/tags" Target="../tags/tag652.xml"/><Relationship Id="rId1" Type="http://schemas.openxmlformats.org/officeDocument/2006/relationships/vmlDrawing" Target="../drawings/vmlDrawing369.vml"/><Relationship Id="rId6" Type="http://schemas.openxmlformats.org/officeDocument/2006/relationships/tags" Target="../tags/tag629.xml"/><Relationship Id="rId11" Type="http://schemas.openxmlformats.org/officeDocument/2006/relationships/tags" Target="../tags/tag634.xml"/><Relationship Id="rId24" Type="http://schemas.openxmlformats.org/officeDocument/2006/relationships/tags" Target="../tags/tag647.xml"/><Relationship Id="rId32" Type="http://schemas.openxmlformats.org/officeDocument/2006/relationships/slideLayout" Target="../slideLayouts/slideLayout30.xml"/><Relationship Id="rId5" Type="http://schemas.openxmlformats.org/officeDocument/2006/relationships/tags" Target="../tags/tag628.xml"/><Relationship Id="rId15" Type="http://schemas.openxmlformats.org/officeDocument/2006/relationships/tags" Target="../tags/tag638.xml"/><Relationship Id="rId23" Type="http://schemas.openxmlformats.org/officeDocument/2006/relationships/tags" Target="../tags/tag646.xml"/><Relationship Id="rId28" Type="http://schemas.openxmlformats.org/officeDocument/2006/relationships/tags" Target="../tags/tag651.xml"/><Relationship Id="rId10" Type="http://schemas.openxmlformats.org/officeDocument/2006/relationships/tags" Target="../tags/tag633.xml"/><Relationship Id="rId19" Type="http://schemas.openxmlformats.org/officeDocument/2006/relationships/tags" Target="../tags/tag642.xml"/><Relationship Id="rId31" Type="http://schemas.openxmlformats.org/officeDocument/2006/relationships/tags" Target="../tags/tag654.xml"/><Relationship Id="rId4" Type="http://schemas.openxmlformats.org/officeDocument/2006/relationships/tags" Target="../tags/tag627.xml"/><Relationship Id="rId9" Type="http://schemas.openxmlformats.org/officeDocument/2006/relationships/tags" Target="../tags/tag632.xml"/><Relationship Id="rId14" Type="http://schemas.openxmlformats.org/officeDocument/2006/relationships/tags" Target="../tags/tag637.xml"/><Relationship Id="rId22" Type="http://schemas.openxmlformats.org/officeDocument/2006/relationships/tags" Target="../tags/tag645.xml"/><Relationship Id="rId27" Type="http://schemas.openxmlformats.org/officeDocument/2006/relationships/tags" Target="../tags/tag650.xml"/><Relationship Id="rId30" Type="http://schemas.openxmlformats.org/officeDocument/2006/relationships/tags" Target="../tags/tag653.xml"/><Relationship Id="rId35" Type="http://schemas.openxmlformats.org/officeDocument/2006/relationships/chart" Target="../charts/chart1.xml"/><Relationship Id="rId8" Type="http://schemas.openxmlformats.org/officeDocument/2006/relationships/tags" Target="../tags/tag63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tags" Target="../tags/tag656.xml"/><Relationship Id="rId7" Type="http://schemas.openxmlformats.org/officeDocument/2006/relationships/image" Target="../media/image19.emf"/><Relationship Id="rId12" Type="http://schemas.openxmlformats.org/officeDocument/2006/relationships/image" Target="../media/image24.png"/><Relationship Id="rId2" Type="http://schemas.openxmlformats.org/officeDocument/2006/relationships/tags" Target="../tags/tag655.xml"/><Relationship Id="rId1" Type="http://schemas.openxmlformats.org/officeDocument/2006/relationships/vmlDrawing" Target="../drawings/vmlDrawing370.vml"/><Relationship Id="rId6" Type="http://schemas.openxmlformats.org/officeDocument/2006/relationships/oleObject" Target="../embeddings/oleObject378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58.xml"/><Relationship Id="rId2" Type="http://schemas.openxmlformats.org/officeDocument/2006/relationships/tags" Target="../tags/tag657.xml"/><Relationship Id="rId1" Type="http://schemas.openxmlformats.org/officeDocument/2006/relationships/vmlDrawing" Target="../drawings/vmlDrawing371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79.bin"/><Relationship Id="rId4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60.xml"/><Relationship Id="rId2" Type="http://schemas.openxmlformats.org/officeDocument/2006/relationships/tags" Target="../tags/tag659.xml"/><Relationship Id="rId1" Type="http://schemas.openxmlformats.org/officeDocument/2006/relationships/vmlDrawing" Target="../drawings/vmlDrawing37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80.bin"/><Relationship Id="rId4" Type="http://schemas.openxmlformats.org/officeDocument/2006/relationships/slideLayout" Target="../slideLayouts/slideLayout35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662.xml"/><Relationship Id="rId7" Type="http://schemas.openxmlformats.org/officeDocument/2006/relationships/image" Target="../media/image26.emf"/><Relationship Id="rId2" Type="http://schemas.openxmlformats.org/officeDocument/2006/relationships/tags" Target="../tags/tag661.xml"/><Relationship Id="rId1" Type="http://schemas.openxmlformats.org/officeDocument/2006/relationships/vmlDrawing" Target="../drawings/vmlDrawing373.vml"/><Relationship Id="rId6" Type="http://schemas.openxmlformats.org/officeDocument/2006/relationships/oleObject" Target="../embeddings/oleObject38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664.xml"/><Relationship Id="rId7" Type="http://schemas.openxmlformats.org/officeDocument/2006/relationships/image" Target="../media/image26.emf"/><Relationship Id="rId2" Type="http://schemas.openxmlformats.org/officeDocument/2006/relationships/tags" Target="../tags/tag663.xml"/><Relationship Id="rId1" Type="http://schemas.openxmlformats.org/officeDocument/2006/relationships/vmlDrawing" Target="../drawings/vmlDrawing374.vml"/><Relationship Id="rId6" Type="http://schemas.openxmlformats.org/officeDocument/2006/relationships/oleObject" Target="../embeddings/oleObject38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tags" Target="../tags/tag666.xml"/><Relationship Id="rId21" Type="http://schemas.openxmlformats.org/officeDocument/2006/relationships/image" Target="../media/image44.jpeg"/><Relationship Id="rId7" Type="http://schemas.openxmlformats.org/officeDocument/2006/relationships/image" Target="../media/image29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tags" Target="../tags/tag665.xml"/><Relationship Id="rId16" Type="http://schemas.openxmlformats.org/officeDocument/2006/relationships/image" Target="../media/image39.jpeg"/><Relationship Id="rId20" Type="http://schemas.openxmlformats.org/officeDocument/2006/relationships/image" Target="../media/image43.png"/><Relationship Id="rId1" Type="http://schemas.openxmlformats.org/officeDocument/2006/relationships/vmlDrawing" Target="../drawings/vmlDrawing375.vml"/><Relationship Id="rId6" Type="http://schemas.openxmlformats.org/officeDocument/2006/relationships/image" Target="../media/image30.emf"/><Relationship Id="rId11" Type="http://schemas.openxmlformats.org/officeDocument/2006/relationships/image" Target="../media/image34.png"/><Relationship Id="rId24" Type="http://schemas.openxmlformats.org/officeDocument/2006/relationships/image" Target="../media/image47.png"/><Relationship Id="rId5" Type="http://schemas.openxmlformats.org/officeDocument/2006/relationships/oleObject" Target="../embeddings/oleObject383.bin"/><Relationship Id="rId15" Type="http://schemas.openxmlformats.org/officeDocument/2006/relationships/image" Target="../media/image38.jpeg"/><Relationship Id="rId23" Type="http://schemas.openxmlformats.org/officeDocument/2006/relationships/image" Target="../media/image46.pn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Relationship Id="rId22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68.xml"/><Relationship Id="rId7" Type="http://schemas.openxmlformats.org/officeDocument/2006/relationships/image" Target="../media/image49.png"/><Relationship Id="rId2" Type="http://schemas.openxmlformats.org/officeDocument/2006/relationships/tags" Target="../tags/tag667.xml"/><Relationship Id="rId1" Type="http://schemas.openxmlformats.org/officeDocument/2006/relationships/vmlDrawing" Target="../drawings/vmlDrawing376.v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384.bin"/><Relationship Id="rId4" Type="http://schemas.openxmlformats.org/officeDocument/2006/relationships/slideLayout" Target="../slideLayouts/slideLayout3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2"/>
          <p:cNvSpPr>
            <a:spLocks noChangeArrowheads="1"/>
          </p:cNvSpPr>
          <p:nvPr/>
        </p:nvSpPr>
        <p:spPr bwMode="auto">
          <a:xfrm>
            <a:off x="381079" y="2107720"/>
            <a:ext cx="9279802" cy="250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9" tIns="45715" rIns="91429" bIns="45715"/>
          <a:lstStyle/>
          <a:p>
            <a:pPr defTabSz="914296">
              <a:spcBef>
                <a:spcPts val="1200"/>
              </a:spcBef>
            </a:pPr>
            <a:r>
              <a:rPr lang="it-IT" sz="2800" b="1" dirty="0">
                <a:solidFill>
                  <a:srgbClr val="000000"/>
                </a:solidFill>
              </a:rPr>
              <a:t>Proposta tariffaria per l’ultimo anno del II quinquennio </a:t>
            </a:r>
            <a:r>
              <a:rPr lang="it-IT" sz="2800" b="1" dirty="0" err="1">
                <a:solidFill>
                  <a:srgbClr val="000000"/>
                </a:solidFill>
              </a:rPr>
              <a:t>regolatorio</a:t>
            </a:r>
            <a:r>
              <a:rPr lang="it-IT" sz="2800" b="1" dirty="0">
                <a:solidFill>
                  <a:srgbClr val="000000"/>
                </a:solidFill>
              </a:rPr>
              <a:t> (2017-21) </a:t>
            </a:r>
          </a:p>
          <a:p>
            <a:pPr defTabSz="914296">
              <a:spcBef>
                <a:spcPts val="1200"/>
              </a:spcBef>
            </a:pPr>
            <a:endParaRPr lang="it-IT" sz="2800" dirty="0">
              <a:solidFill>
                <a:srgbClr val="000000"/>
              </a:solidFill>
            </a:endParaRPr>
          </a:p>
          <a:p>
            <a:pPr defTabSz="914296">
              <a:spcBef>
                <a:spcPts val="1200"/>
              </a:spcBef>
            </a:pPr>
            <a:endParaRPr lang="it-IT" sz="2300" dirty="0">
              <a:solidFill>
                <a:srgbClr val="000000"/>
              </a:solidFill>
            </a:endParaRPr>
          </a:p>
          <a:p>
            <a:pPr defTabSz="914296">
              <a:spcBef>
                <a:spcPts val="1200"/>
              </a:spcBef>
            </a:pPr>
            <a:endParaRPr lang="it-IT" sz="2000" dirty="0">
              <a:solidFill>
                <a:srgbClr val="000000"/>
              </a:solidFill>
            </a:endParaRPr>
          </a:p>
          <a:p>
            <a:pPr defTabSz="914296">
              <a:spcBef>
                <a:spcPts val="1200"/>
              </a:spcBef>
            </a:pPr>
            <a:r>
              <a:rPr lang="it-IT" sz="2800" dirty="0">
                <a:solidFill>
                  <a:srgbClr val="000000"/>
                </a:solidFill>
              </a:rPr>
              <a:t> 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330698"/>
              </p:ext>
            </p:extLst>
          </p:nvPr>
        </p:nvGraphicFramePr>
        <p:xfrm>
          <a:off x="1721" y="1590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2" name="Diapositiva think-cell" r:id="rId5" imgW="286" imgH="286" progId="TCLayout.ActiveDocument.1">
                  <p:embed/>
                </p:oleObj>
              </mc:Choice>
              <mc:Fallback>
                <p:oleObj name="Diapositiva think-cell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90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3"/>
            <a:ext cx="171979" cy="15875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6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FFFF"/>
              </a:solidFill>
              <a:ea typeface="+mj-ea"/>
              <a:cs typeface="+mj-cs"/>
              <a:sym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06510" y="5305356"/>
            <a:ext cx="1667123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914296"/>
            <a:r>
              <a:rPr lang="it-IT" dirty="0">
                <a:solidFill>
                  <a:srgbClr val="000000"/>
                </a:solidFill>
              </a:rPr>
              <a:t>13 Ottobre 2020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5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8A9A1113-292C-4A5D-93C5-722C3BED51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29" name="Diapositiva think-cell" r:id="rId5" imgW="347" imgH="348" progId="TCLayout.ActiveDocument.1">
                  <p:embed/>
                </p:oleObj>
              </mc:Choice>
              <mc:Fallback>
                <p:oleObj name="Diapositiva think-cell" r:id="rId5" imgW="347" imgH="348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xmlns="" id="{8A9A1113-292C-4A5D-93C5-722C3BED51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565C6352-9114-49E4-BE8A-A63852258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xmlns="" id="{E525A276-811C-4A80-8845-EE30C667C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230229"/>
            <a:ext cx="8691727" cy="684212"/>
          </a:xfrm>
        </p:spPr>
        <p:txBody>
          <a:bodyPr/>
          <a:lstStyle/>
          <a:p>
            <a:r>
              <a:rPr lang="it-IT" dirty="0"/>
              <a:t>Le infrastrutture per lo screening sanitario disponibili a Roma Fiumicino</a:t>
            </a:r>
            <a:br>
              <a:rPr lang="it-IT" dirty="0"/>
            </a:br>
            <a:r>
              <a:rPr lang="it-IT" sz="1200" b="0" dirty="0"/>
              <a:t>Dal 16 agosto sono condotti presso il terminal 3 test rapidi antigenici con la collaborazione di Regione Lazio e USMAF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xmlns="" id="{F7DBF6A2-9563-4FEA-909E-811103D49C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091760"/>
            <a:ext cx="9906000" cy="494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70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B80518A8-8A8C-46C2-8C74-E8A9CF1626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78" name="Diapositiva think-cell" r:id="rId5" imgW="347" imgH="348" progId="TCLayout.ActiveDocument.1">
                  <p:embed/>
                </p:oleObj>
              </mc:Choice>
              <mc:Fallback>
                <p:oleObj name="Diapositiva think-cell" r:id="rId5" imgW="347" imgH="348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xmlns="" id="{B80518A8-8A8C-46C2-8C74-E8A9CF162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1B131A4B-B301-48BC-8A31-458AFDD9E9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xmlns="" id="{4619092E-C070-426E-BB2B-E60A0F5DB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341" y="259777"/>
            <a:ext cx="8691727" cy="684212"/>
          </a:xfrm>
        </p:spPr>
        <p:txBody>
          <a:bodyPr/>
          <a:lstStyle/>
          <a:p>
            <a:r>
              <a:rPr lang="it-IT" dirty="0"/>
              <a:t>Le infrastrutture per lo screening sanitario disponibili a Roma Fiumicino</a:t>
            </a:r>
            <a:br>
              <a:rPr lang="it-IT" dirty="0"/>
            </a:br>
            <a:r>
              <a:rPr lang="it-IT" sz="1200" b="0" dirty="0"/>
              <a:t>Dal 1° settembre è operativo un drive-in di 8000 mq presso il parcheggio lunga sosta con la collaborazione di Regione e CRI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xmlns="" id="{F937F2A3-1130-46F2-B2B7-680EF43332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82687"/>
            <a:ext cx="9906000" cy="496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857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B240282A-BB10-475D-90A8-218805E2AD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02" name="Diapositiva think-cell" r:id="rId5" imgW="347" imgH="348" progId="TCLayout.ActiveDocument.1">
                  <p:embed/>
                </p:oleObj>
              </mc:Choice>
              <mc:Fallback>
                <p:oleObj name="Diapositiva think-cell" r:id="rId5" imgW="347" imgH="348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xmlns="" id="{B240282A-BB10-475D-90A8-218805E2A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6104E66F-2587-4662-9381-27F09A09AC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xmlns="" id="{10630B20-BE62-4332-BADE-98CF3F182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107" y="275543"/>
            <a:ext cx="8691727" cy="684212"/>
          </a:xfrm>
        </p:spPr>
        <p:txBody>
          <a:bodyPr/>
          <a:lstStyle/>
          <a:p>
            <a:r>
              <a:rPr lang="it-IT" dirty="0"/>
              <a:t>Le infrastrutture per lo screening sanitario disponibili a Roma Fiumicino</a:t>
            </a:r>
            <a:br>
              <a:rPr lang="it-IT" dirty="0"/>
            </a:br>
            <a:r>
              <a:rPr lang="it-IT" sz="1200" b="0" dirty="0"/>
              <a:t>Dal 16 settembre è un corso una sperimentazione per l’esecuzione di test antigenici rapidi sui passeggeri in partenza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xmlns="" id="{A2C09923-1562-4AF3-9313-DCDD7DF316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328420"/>
            <a:ext cx="9906000" cy="488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86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66175F2E-27FD-4191-BB76-1AA272B973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25" name="Diapositiva think-cell" r:id="rId5" imgW="347" imgH="348" progId="TCLayout.ActiveDocument.1">
                  <p:embed/>
                </p:oleObj>
              </mc:Choice>
              <mc:Fallback>
                <p:oleObj name="Diapositiva think-cell" r:id="rId5" imgW="347" imgH="348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66175F2E-27FD-4191-BB76-1AA272B97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xmlns="" id="{90E977EB-E624-4B49-B26D-E09F91DBD1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400" b="1" dirty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2" name="Titolo 1">
            <a:extLst>
              <a:ext uri="{FF2B5EF4-FFF2-40B4-BE49-F238E27FC236}">
                <a16:creationId xmlns:a16="http://schemas.microsoft.com/office/drawing/2014/main" xmlns="" id="{739DC111-F75F-4FD3-8E55-2EEB2056A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577" y="214493"/>
            <a:ext cx="8801814" cy="684212"/>
          </a:xfrm>
        </p:spPr>
        <p:txBody>
          <a:bodyPr/>
          <a:lstStyle/>
          <a:p>
            <a:r>
              <a:rPr lang="it-IT" dirty="0"/>
              <a:t>Progetto di sperimentazione di voli «</a:t>
            </a:r>
            <a:r>
              <a:rPr lang="it-IT" dirty="0" err="1"/>
              <a:t>Covid-tested</a:t>
            </a:r>
            <a:r>
              <a:rPr lang="it-IT" dirty="0"/>
              <a:t>» da Paesi extra-UE verso Fiumicino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xmlns="" id="{D0A0C109-95D2-4D34-A9DD-4BE5976D34FE}"/>
              </a:ext>
            </a:extLst>
          </p:cNvPr>
          <p:cNvSpPr txBox="1"/>
          <p:nvPr/>
        </p:nvSpPr>
        <p:spPr>
          <a:xfrm>
            <a:off x="429772" y="1306098"/>
            <a:ext cx="9108502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1400" b="1" dirty="0"/>
              <a:t>ADR sta promuovendo la sperimentazione di un modello che mira alla facilitazione della «</a:t>
            </a:r>
            <a:r>
              <a:rPr lang="it-IT" sz="1400" b="1" dirty="0" err="1"/>
              <a:t>travel</a:t>
            </a:r>
            <a:r>
              <a:rPr lang="it-IT" sz="1400" b="1" dirty="0"/>
              <a:t> </a:t>
            </a:r>
            <a:r>
              <a:rPr lang="it-IT" sz="1400" b="1" dirty="0" err="1"/>
              <a:t>experience</a:t>
            </a:r>
            <a:r>
              <a:rPr lang="it-IT" sz="1400" b="1" dirty="0"/>
              <a:t>» ed al tempo stesso salvaguarda i vigenti criteri di sicurezza</a:t>
            </a:r>
            <a:r>
              <a:rPr lang="it-IT" sz="1400" dirty="0"/>
              <a:t>:</a:t>
            </a:r>
          </a:p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it-IT" sz="1400" dirty="0"/>
              <a:t>nelle </a:t>
            </a:r>
            <a:r>
              <a:rPr lang="it-IT" sz="1400" b="1" dirty="0"/>
              <a:t>72 ore</a:t>
            </a:r>
            <a:r>
              <a:rPr lang="it-IT" sz="1400" dirty="0"/>
              <a:t>* </a:t>
            </a:r>
            <a:r>
              <a:rPr lang="it-IT" sz="1400" b="1" dirty="0"/>
              <a:t>precedenti il volo</a:t>
            </a:r>
            <a:r>
              <a:rPr lang="it-IT" sz="1400" dirty="0"/>
              <a:t> i </a:t>
            </a:r>
            <a:r>
              <a:rPr lang="it-IT" sz="1400" b="1" dirty="0"/>
              <a:t>passeggeri</a:t>
            </a:r>
            <a:r>
              <a:rPr lang="it-IT" sz="1400" dirty="0"/>
              <a:t> di tutti i </a:t>
            </a:r>
            <a:r>
              <a:rPr lang="it-IT" sz="1400" b="1" dirty="0"/>
              <a:t>voli</a:t>
            </a:r>
            <a:r>
              <a:rPr lang="it-IT" sz="1400" dirty="0"/>
              <a:t> originanti dal </a:t>
            </a:r>
            <a:r>
              <a:rPr lang="it-IT" sz="1400" b="1" dirty="0"/>
              <a:t>Canada</a:t>
            </a:r>
            <a:r>
              <a:rPr lang="it-IT" sz="1400" dirty="0"/>
              <a:t>, da </a:t>
            </a:r>
            <a:r>
              <a:rPr lang="it-IT" sz="1400" b="1" dirty="0"/>
              <a:t>Giappone</a:t>
            </a:r>
            <a:r>
              <a:rPr lang="it-IT" sz="1400" dirty="0"/>
              <a:t>, dalla </a:t>
            </a:r>
            <a:r>
              <a:rPr lang="it-IT" sz="1400" b="1" dirty="0"/>
              <a:t>Corea del Sud</a:t>
            </a:r>
            <a:r>
              <a:rPr lang="it-IT" sz="1400" dirty="0"/>
              <a:t> e dagli aeroporti internazionali di </a:t>
            </a:r>
            <a:r>
              <a:rPr lang="it-IT" sz="1400" b="1" dirty="0"/>
              <a:t>New York</a:t>
            </a:r>
            <a:r>
              <a:rPr lang="it-IT" sz="1400" dirty="0"/>
              <a:t> (JFK e EWR) diretti a </a:t>
            </a:r>
            <a:r>
              <a:rPr lang="it-IT" sz="1400" b="1" dirty="0"/>
              <a:t>Roma Fiumicino</a:t>
            </a:r>
            <a:r>
              <a:rPr lang="it-IT" sz="1400" dirty="0"/>
              <a:t> si sottopongono a </a:t>
            </a:r>
            <a:r>
              <a:rPr lang="it-IT" sz="1400" b="1" dirty="0"/>
              <a:t>test molecolare o antigenico</a:t>
            </a:r>
            <a:r>
              <a:rPr lang="it-IT" sz="1400" dirty="0"/>
              <a:t> (i passeggeri possono accedere all’imbarco sui predetti voli diretti solo in caso di negatività)</a:t>
            </a:r>
          </a:p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it-IT" sz="1400" dirty="0"/>
              <a:t>all’arrivo a Roma i </a:t>
            </a:r>
            <a:r>
              <a:rPr lang="it-IT" sz="1400" b="1" dirty="0"/>
              <a:t>passeggeri provenienti da New York </a:t>
            </a:r>
            <a:r>
              <a:rPr lang="it-IT" sz="1400" dirty="0"/>
              <a:t>si sottopongono </a:t>
            </a:r>
            <a:r>
              <a:rPr lang="it-IT" sz="1400" b="1" dirty="0"/>
              <a:t>nuovamente</a:t>
            </a:r>
            <a:r>
              <a:rPr lang="it-IT" sz="1400" dirty="0"/>
              <a:t> al </a:t>
            </a:r>
            <a:r>
              <a:rPr lang="it-IT" sz="1400" b="1" dirty="0"/>
              <a:t>test antigenico</a:t>
            </a:r>
            <a:r>
              <a:rPr lang="it-IT" sz="1400" dirty="0"/>
              <a:t> in aeroporto: in caso di </a:t>
            </a:r>
            <a:r>
              <a:rPr lang="it-IT" sz="1400" b="1" dirty="0"/>
              <a:t>esito negativo</a:t>
            </a:r>
            <a:r>
              <a:rPr lang="it-IT" sz="1400" dirty="0"/>
              <a:t> al passeggero </a:t>
            </a:r>
            <a:r>
              <a:rPr lang="it-IT" sz="1400" b="1" u="sng" dirty="0"/>
              <a:t>non</a:t>
            </a:r>
            <a:r>
              <a:rPr lang="it-IT" sz="1400" b="1" dirty="0"/>
              <a:t> è richiesto</a:t>
            </a:r>
            <a:r>
              <a:rPr lang="it-IT" sz="1400" dirty="0"/>
              <a:t> di rispettare l’obbligo di </a:t>
            </a:r>
            <a:r>
              <a:rPr lang="it-IT" sz="1400" b="1" dirty="0"/>
              <a:t>auto-isolamento per 14 giorni</a:t>
            </a:r>
            <a:endParaRPr lang="it-IT" sz="1400" dirty="0"/>
          </a:p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it-IT" sz="1400" dirty="0"/>
              <a:t>i </a:t>
            </a:r>
            <a:r>
              <a:rPr lang="it-IT" sz="1400" b="1" dirty="0"/>
              <a:t>passeggeri provenienti</a:t>
            </a:r>
            <a:r>
              <a:rPr lang="it-IT" sz="1400" dirty="0"/>
              <a:t> da </a:t>
            </a:r>
            <a:r>
              <a:rPr lang="it-IT" sz="1400" b="1" dirty="0"/>
              <a:t>Canada</a:t>
            </a:r>
            <a:r>
              <a:rPr lang="it-IT" sz="1400" dirty="0"/>
              <a:t>, </a:t>
            </a:r>
            <a:r>
              <a:rPr lang="it-IT" sz="1400" b="1" dirty="0"/>
              <a:t>Giappone</a:t>
            </a:r>
            <a:r>
              <a:rPr lang="it-IT" sz="1400" dirty="0"/>
              <a:t> e </a:t>
            </a:r>
            <a:r>
              <a:rPr lang="it-IT" sz="1400" b="1" dirty="0"/>
              <a:t>Corea del Sud</a:t>
            </a:r>
            <a:r>
              <a:rPr lang="it-IT" sz="1400" dirty="0"/>
              <a:t> (basso profilo di rischio) </a:t>
            </a:r>
            <a:r>
              <a:rPr lang="it-IT" sz="1400" b="1" u="sng" dirty="0"/>
              <a:t>non</a:t>
            </a:r>
            <a:r>
              <a:rPr lang="it-IT" sz="1400" b="1" dirty="0"/>
              <a:t> ripetono</a:t>
            </a:r>
            <a:r>
              <a:rPr lang="it-IT" sz="1400" dirty="0"/>
              <a:t> il </a:t>
            </a:r>
            <a:r>
              <a:rPr lang="it-IT" sz="1400" b="1" dirty="0"/>
              <a:t>test</a:t>
            </a:r>
            <a:r>
              <a:rPr lang="it-IT" sz="1400" dirty="0"/>
              <a:t> a Fiumicino e </a:t>
            </a:r>
            <a:r>
              <a:rPr lang="it-IT" sz="1400" b="1" u="sng" dirty="0"/>
              <a:t>non</a:t>
            </a:r>
            <a:r>
              <a:rPr lang="it-IT" sz="1400" dirty="0"/>
              <a:t> sono </a:t>
            </a:r>
            <a:r>
              <a:rPr lang="it-IT" sz="1400" b="1" dirty="0"/>
              <a:t>sottoposti</a:t>
            </a:r>
            <a:r>
              <a:rPr lang="it-IT" sz="1400" dirty="0"/>
              <a:t> all’obbligo di </a:t>
            </a:r>
            <a:r>
              <a:rPr lang="it-IT" sz="1400" b="1" dirty="0"/>
              <a:t>auto-isolamento per 14 giorni</a:t>
            </a:r>
            <a:endParaRPr lang="it-IT" sz="1400" dirty="0"/>
          </a:p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it-IT" sz="1400" dirty="0"/>
              <a:t>i passeggeri dei predetti voli possono entrare nel territorio nazionale </a:t>
            </a:r>
            <a:r>
              <a:rPr lang="it-IT" sz="1400" b="1" dirty="0"/>
              <a:t>senza limitazioni </a:t>
            </a:r>
            <a:r>
              <a:rPr lang="it-IT" sz="1400" dirty="0"/>
              <a:t>sulla </a:t>
            </a:r>
            <a:r>
              <a:rPr lang="it-IT" sz="1400" b="1" dirty="0"/>
              <a:t>motivazione del viaggio</a:t>
            </a:r>
            <a:endParaRPr lang="it-IT" sz="1400" dirty="0"/>
          </a:p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it-IT" sz="1400" b="1" dirty="0"/>
              <a:t>i passeggeri </a:t>
            </a:r>
            <a:r>
              <a:rPr lang="it-IT" sz="1400" dirty="0"/>
              <a:t>che</a:t>
            </a:r>
            <a:r>
              <a:rPr lang="it-IT" sz="1400" b="1" dirty="0"/>
              <a:t> fanno scalo </a:t>
            </a:r>
            <a:r>
              <a:rPr lang="it-IT" sz="1400" dirty="0"/>
              <a:t>negli </a:t>
            </a:r>
            <a:r>
              <a:rPr lang="it-IT" sz="1400" b="1" dirty="0"/>
              <a:t>aeroporti rientranti </a:t>
            </a:r>
            <a:r>
              <a:rPr lang="it-IT" sz="1400" dirty="0"/>
              <a:t>nella</a:t>
            </a:r>
            <a:r>
              <a:rPr lang="it-IT" sz="1400" b="1" dirty="0"/>
              <a:t> sperimentazione </a:t>
            </a:r>
            <a:r>
              <a:rPr lang="it-IT" sz="1400" dirty="0"/>
              <a:t>ma </a:t>
            </a:r>
            <a:r>
              <a:rPr lang="it-IT" sz="1400" b="1" dirty="0"/>
              <a:t>originano</a:t>
            </a:r>
            <a:r>
              <a:rPr lang="it-IT" sz="1400" dirty="0"/>
              <a:t> da </a:t>
            </a:r>
            <a:r>
              <a:rPr lang="it-IT" sz="1400" b="1" dirty="0"/>
              <a:t>territori esterni</a:t>
            </a:r>
            <a:r>
              <a:rPr lang="it-IT" sz="1400" dirty="0"/>
              <a:t> </a:t>
            </a:r>
            <a:r>
              <a:rPr lang="it-IT" sz="1400" b="1" dirty="0"/>
              <a:t>continuano</a:t>
            </a:r>
            <a:r>
              <a:rPr lang="it-IT" sz="1400" dirty="0"/>
              <a:t> ad essere </a:t>
            </a:r>
            <a:r>
              <a:rPr lang="it-IT" sz="1400" b="1" dirty="0"/>
              <a:t>sottoposti alle restrizioni vigenti </a:t>
            </a:r>
            <a:endParaRPr lang="it-IT" sz="1400" dirty="0"/>
          </a:p>
          <a:p>
            <a:pPr algn="just">
              <a:spcAft>
                <a:spcPts val="1200"/>
              </a:spcAft>
            </a:pPr>
            <a:r>
              <a:rPr lang="it-IT" sz="1400" dirty="0"/>
              <a:t>  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xmlns="" id="{8BE2E429-FAAA-4FD5-B0FD-387414598EE9}"/>
              </a:ext>
            </a:extLst>
          </p:cNvPr>
          <p:cNvSpPr txBox="1"/>
          <p:nvPr/>
        </p:nvSpPr>
        <p:spPr>
          <a:xfrm>
            <a:off x="414058" y="6197697"/>
            <a:ext cx="9379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/>
              <a:t>(*) Modulabile nell’intervallo 96-48 ore nel caso di New York per avere un adeguato intervallo temporale tra il test in partenza e quello da ripetere all’arrivo  (vedasi punto 2) </a:t>
            </a:r>
          </a:p>
        </p:txBody>
      </p:sp>
    </p:spTree>
    <p:extLst>
      <p:ext uri="{BB962C8B-B14F-4D97-AF65-F5344CB8AC3E}">
        <p14:creationId xmlns:p14="http://schemas.microsoft.com/office/powerpoint/2010/main" val="59662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xmlns="" id="{8A1135CA-A058-4C96-B987-1C296506C0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643865"/>
          <a:ext cx="1588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49" name="Diapositiva think-cell" r:id="rId6" imgW="347" imgH="348" progId="TCLayout.ActiveDocument.1">
                  <p:embed/>
                </p:oleObj>
              </mc:Choice>
              <mc:Fallback>
                <p:oleObj name="Diapositiva think-cell" r:id="rId6" imgW="347" imgH="348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xmlns="" id="{8A1135CA-A058-4C96-B987-1C296506C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643865"/>
                        <a:ext cx="1588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4AA54A95-DD23-427D-9BDA-EBFCA86830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642581"/>
            <a:ext cx="158750" cy="12900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041"/>
            <a:endParaRPr lang="it-IT" sz="2400" b="1" dirty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xmlns="" id="{B9EB56AF-3EDF-4F1F-846C-4E2368BEC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39" y="212479"/>
            <a:ext cx="9218645" cy="684212"/>
          </a:xfrm>
        </p:spPr>
        <p:txBody>
          <a:bodyPr/>
          <a:lstStyle/>
          <a:p>
            <a:r>
              <a:rPr lang="it-IT" dirty="0"/>
              <a:t>In corso interazioni con i principali stakeholder per favorire l’applicazione dei nuovi protocolli per voli «</a:t>
            </a:r>
            <a:r>
              <a:rPr lang="it-IT" dirty="0" err="1"/>
              <a:t>Covid</a:t>
            </a:r>
            <a:r>
              <a:rPr lang="it-IT" dirty="0"/>
              <a:t>-free»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xmlns="" id="{4F08D6CD-0A41-4BFF-8239-C12C250EBA2A}"/>
              </a:ext>
            </a:extLst>
          </p:cNvPr>
          <p:cNvSpPr/>
          <p:nvPr/>
        </p:nvSpPr>
        <p:spPr>
          <a:xfrm>
            <a:off x="294078" y="1743932"/>
            <a:ext cx="1654480" cy="936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305" tIns="37152" rIns="74305" bIns="37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041"/>
            <a:r>
              <a:rPr lang="it-IT" sz="1400" b="1" dirty="0">
                <a:solidFill>
                  <a:srgbClr val="FFFFFF"/>
                </a:solidFill>
              </a:rPr>
              <a:t>Istituzioni</a:t>
            </a:r>
          </a:p>
          <a:p>
            <a:pPr algn="ctr" defTabSz="743041"/>
            <a:r>
              <a:rPr lang="it-IT" sz="1400" b="1" dirty="0">
                <a:solidFill>
                  <a:srgbClr val="FFFFFF"/>
                </a:solidFill>
              </a:rPr>
              <a:t> Italiane</a:t>
            </a:r>
          </a:p>
        </p:txBody>
      </p:sp>
      <p:pic>
        <p:nvPicPr>
          <p:cNvPr id="237570" name="Picture 2" descr="Comitato tecnico scientifico: chi sono i tecnici che assistono il Governo">
            <a:extLst>
              <a:ext uri="{FF2B5EF4-FFF2-40B4-BE49-F238E27FC236}">
                <a16:creationId xmlns:a16="http://schemas.microsoft.com/office/drawing/2014/main" xmlns="" id="{EE6372C8-7241-421A-9949-672A3F5A0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288" y="1698139"/>
            <a:ext cx="924752" cy="493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72" name="Picture 4" descr="Comunicazione Istituto Superiore di Sanità">
            <a:extLst>
              <a:ext uri="{FF2B5EF4-FFF2-40B4-BE49-F238E27FC236}">
                <a16:creationId xmlns:a16="http://schemas.microsoft.com/office/drawing/2014/main" xmlns="" id="{73C7B6BE-6927-4E5C-9A84-C32AC47586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3529" y="2017116"/>
            <a:ext cx="899713" cy="61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74" name="Picture 6" descr="precisazione ENAC inconveniente grave di Treviso - WEtravel.biz">
            <a:extLst>
              <a:ext uri="{FF2B5EF4-FFF2-40B4-BE49-F238E27FC236}">
                <a16:creationId xmlns:a16="http://schemas.microsoft.com/office/drawing/2014/main" xmlns="" id="{63CE2E74-81D0-4041-A51F-406AB49CE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270" y="1698142"/>
            <a:ext cx="983327" cy="382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76" name="Picture 8" descr="COVID-19, vertice del Ministro della Salute con il Commissario UE alla  Salute, OMS Europa ed ECDC">
            <a:extLst>
              <a:ext uri="{FF2B5EF4-FFF2-40B4-BE49-F238E27FC236}">
                <a16:creationId xmlns:a16="http://schemas.microsoft.com/office/drawing/2014/main" xmlns="" id="{4561D788-D821-47F3-AD42-5F2E15C39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532" y="2183890"/>
            <a:ext cx="1211859" cy="551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78" name="Picture 10" descr="MINISTERO DEL TURISMO ADDIO? | A.I.A.V.">
            <a:extLst>
              <a:ext uri="{FF2B5EF4-FFF2-40B4-BE49-F238E27FC236}">
                <a16:creationId xmlns:a16="http://schemas.microsoft.com/office/drawing/2014/main" xmlns="" id="{BB6C50FF-E3AA-42DC-A3E2-98FBDF4440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7371" y="1698136"/>
            <a:ext cx="1280531" cy="426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80" name="Picture 12" descr="Ministero delle infrastrutture e dei trasporti">
            <a:extLst>
              <a:ext uri="{FF2B5EF4-FFF2-40B4-BE49-F238E27FC236}">
                <a16:creationId xmlns:a16="http://schemas.microsoft.com/office/drawing/2014/main" xmlns="" id="{7987C06C-7705-4494-A278-1DAC5CBCCE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490" y="1698139"/>
            <a:ext cx="1078321" cy="423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82" name="Picture 14" descr="Presidenza del Consiglio dei ministri - Wikipedia">
            <a:extLst>
              <a:ext uri="{FF2B5EF4-FFF2-40B4-BE49-F238E27FC236}">
                <a16:creationId xmlns:a16="http://schemas.microsoft.com/office/drawing/2014/main" xmlns="" id="{07C440F4-C672-437B-8C5E-336FB9CC9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738" y="2135545"/>
            <a:ext cx="921748" cy="599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84" name="Picture 16">
            <a:extLst>
              <a:ext uri="{FF2B5EF4-FFF2-40B4-BE49-F238E27FC236}">
                <a16:creationId xmlns:a16="http://schemas.microsoft.com/office/drawing/2014/main" xmlns="" id="{26175518-92D7-4D70-9A08-A110A985F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1726" y="3318988"/>
            <a:ext cx="1174528" cy="320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86" name="Picture 18" descr="Homepage | European Centre for Disease Prevention and Control">
            <a:extLst>
              <a:ext uri="{FF2B5EF4-FFF2-40B4-BE49-F238E27FC236}">
                <a16:creationId xmlns:a16="http://schemas.microsoft.com/office/drawing/2014/main" xmlns="" id="{BD789513-2643-4F78-9E0B-D5796D4D41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967" y="3157657"/>
            <a:ext cx="727115" cy="525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88" name="Picture 20" descr="Transportation Security Administration - Wikipedia">
            <a:extLst>
              <a:ext uri="{FF2B5EF4-FFF2-40B4-BE49-F238E27FC236}">
                <a16:creationId xmlns:a16="http://schemas.microsoft.com/office/drawing/2014/main" xmlns="" id="{8BCE6909-B8A7-4A6A-8A0E-4F3FD54598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434" y="4131541"/>
            <a:ext cx="1732959" cy="46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xmlns="" id="{EB5EC6AC-78B0-4A13-A56D-C64B4A6A3017}"/>
              </a:ext>
            </a:extLst>
          </p:cNvPr>
          <p:cNvSpPr/>
          <p:nvPr/>
        </p:nvSpPr>
        <p:spPr>
          <a:xfrm>
            <a:off x="294078" y="2846927"/>
            <a:ext cx="1654480" cy="936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305" tIns="37152" rIns="74305" bIns="37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041"/>
            <a:r>
              <a:rPr lang="it-IT" sz="1400" b="1" dirty="0">
                <a:solidFill>
                  <a:srgbClr val="FFFFFF"/>
                </a:solidFill>
              </a:rPr>
              <a:t>Istituzioni </a:t>
            </a:r>
          </a:p>
          <a:p>
            <a:pPr algn="ctr" defTabSz="743041"/>
            <a:r>
              <a:rPr lang="it-IT" sz="1400" b="1" dirty="0">
                <a:solidFill>
                  <a:srgbClr val="FFFFFF"/>
                </a:solidFill>
              </a:rPr>
              <a:t>Europee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xmlns="" id="{87E1442F-D158-4B8C-8F58-8244D4C5331D}"/>
              </a:ext>
            </a:extLst>
          </p:cNvPr>
          <p:cNvSpPr/>
          <p:nvPr/>
        </p:nvSpPr>
        <p:spPr>
          <a:xfrm>
            <a:off x="294078" y="3949922"/>
            <a:ext cx="1654480" cy="936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305" tIns="37152" rIns="74305" bIns="37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041"/>
            <a:r>
              <a:rPr lang="it-IT" sz="1400" b="1" dirty="0">
                <a:solidFill>
                  <a:srgbClr val="FFFFFF"/>
                </a:solidFill>
              </a:rPr>
              <a:t>Istituzioni Americane</a:t>
            </a: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xmlns="" id="{7993245B-90B0-4A29-B2C1-A341035C581F}"/>
              </a:ext>
            </a:extLst>
          </p:cNvPr>
          <p:cNvCxnSpPr/>
          <p:nvPr/>
        </p:nvCxnSpPr>
        <p:spPr>
          <a:xfrm>
            <a:off x="294077" y="2788290"/>
            <a:ext cx="9516674" cy="0"/>
          </a:xfrm>
          <a:prstGeom prst="line">
            <a:avLst/>
          </a:prstGeom>
          <a:ln w="12700" cap="rnd">
            <a:solidFill>
              <a:srgbClr val="0070C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>
            <a:extLst>
              <a:ext uri="{FF2B5EF4-FFF2-40B4-BE49-F238E27FC236}">
                <a16:creationId xmlns:a16="http://schemas.microsoft.com/office/drawing/2014/main" xmlns="" id="{4B35BE36-E032-47E4-865E-2C5D7A5C0668}"/>
              </a:ext>
            </a:extLst>
          </p:cNvPr>
          <p:cNvCxnSpPr/>
          <p:nvPr/>
        </p:nvCxnSpPr>
        <p:spPr>
          <a:xfrm>
            <a:off x="294077" y="3872128"/>
            <a:ext cx="9516674" cy="0"/>
          </a:xfrm>
          <a:prstGeom prst="line">
            <a:avLst/>
          </a:prstGeom>
          <a:ln w="12700" cap="rnd">
            <a:solidFill>
              <a:srgbClr val="0070C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diritto 23">
            <a:extLst>
              <a:ext uri="{FF2B5EF4-FFF2-40B4-BE49-F238E27FC236}">
                <a16:creationId xmlns:a16="http://schemas.microsoft.com/office/drawing/2014/main" xmlns="" id="{07C2F573-2A46-4845-B8F1-9EED16D14502}"/>
              </a:ext>
            </a:extLst>
          </p:cNvPr>
          <p:cNvCxnSpPr/>
          <p:nvPr/>
        </p:nvCxnSpPr>
        <p:spPr>
          <a:xfrm>
            <a:off x="322653" y="4983696"/>
            <a:ext cx="9516674" cy="0"/>
          </a:xfrm>
          <a:prstGeom prst="line">
            <a:avLst/>
          </a:prstGeom>
          <a:ln w="12700" cap="rnd">
            <a:solidFill>
              <a:srgbClr val="0070C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24">
            <a:extLst>
              <a:ext uri="{FF2B5EF4-FFF2-40B4-BE49-F238E27FC236}">
                <a16:creationId xmlns:a16="http://schemas.microsoft.com/office/drawing/2014/main" xmlns="" id="{F0C87BF4-82D7-47EE-9896-D2CAAEE0FA4F}"/>
              </a:ext>
            </a:extLst>
          </p:cNvPr>
          <p:cNvSpPr/>
          <p:nvPr/>
        </p:nvSpPr>
        <p:spPr>
          <a:xfrm>
            <a:off x="294078" y="5052917"/>
            <a:ext cx="1654480" cy="936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305" tIns="37152" rIns="74305" bIns="37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041"/>
            <a:r>
              <a:rPr lang="it-IT" sz="1400" b="1" dirty="0">
                <a:solidFill>
                  <a:srgbClr val="FFFFFF"/>
                </a:solidFill>
              </a:rPr>
              <a:t>Compagnie aeree</a:t>
            </a:r>
          </a:p>
        </p:txBody>
      </p:sp>
      <p:pic>
        <p:nvPicPr>
          <p:cNvPr id="237590" name="Picture 22" descr="Alitalia (@Alitalia) | Twitter">
            <a:extLst>
              <a:ext uri="{FF2B5EF4-FFF2-40B4-BE49-F238E27FC236}">
                <a16:creationId xmlns:a16="http://schemas.microsoft.com/office/drawing/2014/main" xmlns="" id="{C86851CC-5CA1-4160-B307-BAC8D291BE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1354" y="5166059"/>
            <a:ext cx="797395" cy="647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92" name="Picture 24" descr="American Airlines Is Suing to Get Its Logo Copyrighted">
            <a:extLst>
              <a:ext uri="{FF2B5EF4-FFF2-40B4-BE49-F238E27FC236}">
                <a16:creationId xmlns:a16="http://schemas.microsoft.com/office/drawing/2014/main" xmlns="" id="{8633A531-6C4B-4FDF-93C3-0B9BF35AFD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861" b="29856"/>
          <a:stretch/>
        </p:blipFill>
        <p:spPr bwMode="auto">
          <a:xfrm>
            <a:off x="3132575" y="5108623"/>
            <a:ext cx="1235287" cy="322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94" name="Picture 26" descr="Radio BelizeMix - HOME | Aerolineas, Cambiar de vida, Equipaje">
            <a:extLst>
              <a:ext uri="{FF2B5EF4-FFF2-40B4-BE49-F238E27FC236}">
                <a16:creationId xmlns:a16="http://schemas.microsoft.com/office/drawing/2014/main" xmlns="" id="{A630C817-B421-4D98-AEAF-B7B198033C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9" b="21509"/>
          <a:stretch/>
        </p:blipFill>
        <p:spPr bwMode="auto">
          <a:xfrm>
            <a:off x="4399307" y="5081633"/>
            <a:ext cx="1251285" cy="407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96" name="Picture 28" descr="Emirates - Wikipedia">
            <a:extLst>
              <a:ext uri="{FF2B5EF4-FFF2-40B4-BE49-F238E27FC236}">
                <a16:creationId xmlns:a16="http://schemas.microsoft.com/office/drawing/2014/main" xmlns="" id="{924EA27D-62E9-4261-8E9C-9AC10F2FAA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352" y="5206070"/>
            <a:ext cx="601475" cy="51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598" name="Picture 30" descr="Lufthansa Airlines Logo | Airline logo, Flight logo, Airlines branding">
            <a:extLst>
              <a:ext uri="{FF2B5EF4-FFF2-40B4-BE49-F238E27FC236}">
                <a16:creationId xmlns:a16="http://schemas.microsoft.com/office/drawing/2014/main" xmlns="" id="{6BBA89D1-D9BD-4280-A07B-EFA3A5A4FC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607" y="5209471"/>
            <a:ext cx="1197169" cy="462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600" name="Picture 32" descr="United States Department of Homeland Security - Wikipedia">
            <a:extLst>
              <a:ext uri="{FF2B5EF4-FFF2-40B4-BE49-F238E27FC236}">
                <a16:creationId xmlns:a16="http://schemas.microsoft.com/office/drawing/2014/main" xmlns="" id="{2E4AA10D-E6CB-4136-BC4F-36F64FC9AE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652" y="4058666"/>
            <a:ext cx="908895" cy="735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xmlns="" id="{F1D01C7C-0541-4168-8C28-98F2C75576A8}"/>
              </a:ext>
            </a:extLst>
          </p:cNvPr>
          <p:cNvCxnSpPr/>
          <p:nvPr/>
        </p:nvCxnSpPr>
        <p:spPr>
          <a:xfrm>
            <a:off x="332177" y="6077399"/>
            <a:ext cx="9516674" cy="0"/>
          </a:xfrm>
          <a:prstGeom prst="line">
            <a:avLst/>
          </a:prstGeom>
          <a:ln w="12700" cap="rnd">
            <a:solidFill>
              <a:srgbClr val="0070C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286" name="Picture 6" descr="upload.wikimedia.org/wikipedia/commons/thumb/7/...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221" y="4044003"/>
            <a:ext cx="985314" cy="74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9" descr="Ministero degli Affari Esteri e della Cooperazione internazionale ::  Fondazione Qualivita"/>
          <p:cNvSpPr>
            <a:spLocks noChangeAspect="1" noChangeArrowheads="1"/>
          </p:cNvSpPr>
          <p:nvPr/>
        </p:nvSpPr>
        <p:spPr bwMode="auto">
          <a:xfrm>
            <a:off x="155575" y="525190"/>
            <a:ext cx="304800" cy="247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305" tIns="37152" rIns="74305" bIns="37152" numCol="1" anchor="t" anchorCtr="0" compatLnSpc="1">
            <a:prstTxWarp prst="textNoShape">
              <a:avLst/>
            </a:prstTxWarp>
          </a:bodyPr>
          <a:lstStyle/>
          <a:p>
            <a:pPr defTabSz="743041"/>
            <a:endParaRPr lang="it-IT" sz="1463">
              <a:solidFill>
                <a:srgbClr val="000000"/>
              </a:solidFill>
            </a:endParaRPr>
          </a:p>
        </p:txBody>
      </p:sp>
      <p:pic>
        <p:nvPicPr>
          <p:cNvPr id="97290" name="Picture 10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8111" y="2161597"/>
            <a:ext cx="1203631" cy="573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3715" name="Picture 3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5734" y="3141428"/>
            <a:ext cx="580149" cy="580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3717" name="Picture 5"/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34" b="8603"/>
          <a:stretch/>
        </p:blipFill>
        <p:spPr bwMode="auto">
          <a:xfrm>
            <a:off x="2512364" y="3157656"/>
            <a:ext cx="680948" cy="583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3719" name="Picture 7"/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2" b="1"/>
          <a:stretch/>
        </p:blipFill>
        <p:spPr bwMode="auto">
          <a:xfrm>
            <a:off x="3612898" y="3157653"/>
            <a:ext cx="696447" cy="629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3722" name="Picture 10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7223" y="4122668"/>
            <a:ext cx="983107" cy="61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3723" name="Picture 11"/>
          <p:cNvPicPr>
            <a:picLocks noChangeAspect="1" noChangeArrowheads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2" b="36970"/>
          <a:stretch/>
        </p:blipFill>
        <p:spPr bwMode="auto">
          <a:xfrm>
            <a:off x="3139062" y="5591541"/>
            <a:ext cx="1210385" cy="190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3724" name="Picture 12"/>
          <p:cNvPicPr>
            <a:picLocks noChangeAspect="1" noChangeArrowheads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26" b="28868"/>
          <a:stretch/>
        </p:blipFill>
        <p:spPr bwMode="auto">
          <a:xfrm>
            <a:off x="8095373" y="5103368"/>
            <a:ext cx="961020" cy="322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3726" name="Picture 14"/>
          <p:cNvPicPr>
            <a:picLocks noChangeAspect="1" noChangeArrowheads="1"/>
          </p:cNvPicPr>
          <p:nvPr/>
        </p:nvPicPr>
        <p:blipFill rotWithShape="1"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6" t="36239" r="6659" b="36003"/>
          <a:stretch/>
        </p:blipFill>
        <p:spPr bwMode="auto">
          <a:xfrm>
            <a:off x="7971757" y="5446853"/>
            <a:ext cx="1322278" cy="43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3728" name="Picture 16"/>
          <p:cNvPicPr>
            <a:picLocks noChangeAspect="1" noChangeArrowheads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38" b="27327"/>
          <a:stretch/>
        </p:blipFill>
        <p:spPr bwMode="auto">
          <a:xfrm>
            <a:off x="4660431" y="5547744"/>
            <a:ext cx="702010" cy="249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221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B318BC4D-0CA2-4AC1-ABEE-EB14FE2AEB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3282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75" name="Diapositiva think-cell" r:id="rId5" imgW="622" imgH="623" progId="TCLayout.ActiveDocument.1">
                  <p:embed/>
                </p:oleObj>
              </mc:Choice>
              <mc:Fallback>
                <p:oleObj name="Diapositiva think-cell" r:id="rId5" imgW="622" imgH="623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xmlns="" id="{B318BC4D-0CA2-4AC1-ABEE-EB14FE2AE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16DE3337-4B03-44CF-B216-F63F4525B4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it-IT" sz="24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xmlns="" id="{90FB5391-0CBC-4736-84EE-79D7E820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727" y="212477"/>
            <a:ext cx="8855459" cy="684212"/>
          </a:xfrm>
        </p:spPr>
        <p:txBody>
          <a:bodyPr/>
          <a:lstStyle/>
          <a:p>
            <a:r>
              <a:rPr lang="it-IT" sz="2400" dirty="0"/>
              <a:t/>
            </a:r>
            <a:br>
              <a:rPr lang="it-IT" sz="2400" dirty="0"/>
            </a:br>
            <a:r>
              <a:rPr lang="it-IT" sz="2400" dirty="0"/>
              <a:t>Nonostante le misure </a:t>
            </a:r>
            <a:r>
              <a:rPr lang="it-IT" sz="2400" dirty="0" smtClean="0"/>
              <a:t>intraprese </a:t>
            </a:r>
            <a:r>
              <a:rPr lang="it-IT" sz="2400" dirty="0"/>
              <a:t>ADR rimane in </a:t>
            </a:r>
            <a:r>
              <a:rPr lang="it-IT" sz="2400" dirty="0" smtClean="0"/>
              <a:t>condizioni </a:t>
            </a:r>
            <a:br>
              <a:rPr lang="it-IT" sz="2400" dirty="0" smtClean="0"/>
            </a:br>
            <a:r>
              <a:rPr lang="it-IT" sz="2400" dirty="0" smtClean="0"/>
              <a:t>di elevat</a:t>
            </a:r>
            <a:r>
              <a:rPr lang="it-IT" sz="2400" dirty="0" smtClean="0"/>
              <a:t>o </a:t>
            </a:r>
            <a:r>
              <a:rPr lang="it-IT" sz="2400" dirty="0" smtClean="0"/>
              <a:t>stress economico/finanziario</a:t>
            </a:r>
            <a:endParaRPr lang="it-IT" sz="2400" dirty="0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xmlns="" id="{233F92B8-2D57-47EA-AC60-4194881BD7A3}"/>
              </a:ext>
            </a:extLst>
          </p:cNvPr>
          <p:cNvSpPr/>
          <p:nvPr/>
        </p:nvSpPr>
        <p:spPr>
          <a:xfrm>
            <a:off x="1555703" y="1147298"/>
            <a:ext cx="3376640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Implementate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tutte le possibili azioni di mitigazione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degli impatti della situazione emergenziale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Forte difficoltà nella riduzione dei costi, data la loro natura prevalentemente fissa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ADR oggi opera assicurando alla collettività l’operatività aeroportuale e per garantire un servizio pubblico essenziale, ma ben lontano da ogni logica di sostenibilità economica e di equilibrio finanziario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Perdita economica netta di ≈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 20 mln € al </a:t>
            </a: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mese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Arial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Forte tensione sulla liquidità finanziaria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dovuta al perdurare della situazione di crisi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xmlns="" id="{47944F78-014F-469A-8A04-F06B5B2B60DC}"/>
              </a:ext>
            </a:extLst>
          </p:cNvPr>
          <p:cNvSpPr txBox="1"/>
          <p:nvPr/>
        </p:nvSpPr>
        <p:spPr>
          <a:xfrm>
            <a:off x="252248" y="1926141"/>
            <a:ext cx="112763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erdita 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conomica 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3F5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≈ 20 mln € al mes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it-IT" sz="1400" b="1" dirty="0">
              <a:solidFill>
                <a:srgbClr val="003F5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xmlns="" id="{2E192BE6-A1E0-48BD-94A4-BB0B7F49736A}"/>
              </a:ext>
            </a:extLst>
          </p:cNvPr>
          <p:cNvSpPr/>
          <p:nvPr/>
        </p:nvSpPr>
        <p:spPr>
          <a:xfrm>
            <a:off x="1441346" y="1240477"/>
            <a:ext cx="72000" cy="28061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xmlns="" id="{A5A4A15F-CFEC-4DAD-991D-069308FF85AB}"/>
              </a:ext>
            </a:extLst>
          </p:cNvPr>
          <p:cNvSpPr txBox="1"/>
          <p:nvPr/>
        </p:nvSpPr>
        <p:spPr>
          <a:xfrm>
            <a:off x="1103478" y="4581822"/>
            <a:ext cx="21469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ssa Integrazione ≈ 3.000 dipendenti</a:t>
            </a:r>
            <a:endParaRPr kumimoji="0" lang="it-IT" sz="1000" b="1" i="0" u="none" strike="noStrike" kern="1200" cap="none" spc="0" normalizeH="0" baseline="0" noProof="0" dirty="0">
              <a:ln>
                <a:noFill/>
              </a:ln>
              <a:solidFill>
                <a:srgbClr val="003F5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Triangolo isoscele 13">
            <a:extLst>
              <a:ext uri="{FF2B5EF4-FFF2-40B4-BE49-F238E27FC236}">
                <a16:creationId xmlns:a16="http://schemas.microsoft.com/office/drawing/2014/main" xmlns="" id="{800B5DE6-7017-4A35-9602-583CE11DB7C0}"/>
              </a:ext>
            </a:extLst>
          </p:cNvPr>
          <p:cNvSpPr/>
          <p:nvPr/>
        </p:nvSpPr>
        <p:spPr>
          <a:xfrm rot="10800000">
            <a:off x="1979674" y="4211818"/>
            <a:ext cx="2741100" cy="344414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xmlns="" id="{578E0E61-955D-489D-84E2-26B27D6BC42A}"/>
              </a:ext>
            </a:extLst>
          </p:cNvPr>
          <p:cNvSpPr/>
          <p:nvPr/>
        </p:nvSpPr>
        <p:spPr>
          <a:xfrm>
            <a:off x="977350" y="5248016"/>
            <a:ext cx="22573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In corso Cassa Integrazione fino all’ 80% delle ore lavorabili </a:t>
            </a:r>
            <a:r>
              <a:rPr lang="it-IT" sz="1200" dirty="0" smtClean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per </a:t>
            </a: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personale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operativo </a:t>
            </a: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e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staff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xmlns="" id="{0AE13996-B5C2-4B8A-B217-791C0FB6742F}"/>
              </a:ext>
            </a:extLst>
          </p:cNvPr>
          <p:cNvSpPr txBox="1"/>
          <p:nvPr/>
        </p:nvSpPr>
        <p:spPr>
          <a:xfrm>
            <a:off x="3715752" y="4591264"/>
            <a:ext cx="1712181" cy="307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ospensione investimenti</a:t>
            </a:r>
            <a:endParaRPr kumimoji="0" lang="it-IT" sz="1000" b="1" i="0" u="none" strike="noStrike" kern="1200" cap="none" spc="0" normalizeH="0" baseline="0" noProof="0" dirty="0">
              <a:ln>
                <a:noFill/>
              </a:ln>
              <a:solidFill>
                <a:srgbClr val="003F5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xmlns="" id="{D3DB57C6-5977-4251-882A-6CF573D8306A}"/>
              </a:ext>
            </a:extLst>
          </p:cNvPr>
          <p:cNvSpPr/>
          <p:nvPr/>
        </p:nvSpPr>
        <p:spPr>
          <a:xfrm>
            <a:off x="3373359" y="5253873"/>
            <a:ext cx="257220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Sospensione dei cantieri in corso (con posticipo apertura nuovo avancorpo e nuova area di imbarco) e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ripianificazione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 investimenti futuri 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xmlns="" id="{236CA4CF-8C33-4605-ADCC-5B6CDD5764AD}"/>
              </a:ext>
            </a:extLst>
          </p:cNvPr>
          <p:cNvSpPr txBox="1"/>
          <p:nvPr/>
        </p:nvSpPr>
        <p:spPr>
          <a:xfrm>
            <a:off x="5412168" y="1926141"/>
            <a:ext cx="9728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dirty="0">
                <a:solidFill>
                  <a:srgbClr val="003F56"/>
                </a:solidFill>
                <a:latin typeface="Arial" pitchFamily="34" charset="0"/>
                <a:cs typeface="Arial" pitchFamily="34" charset="0"/>
              </a:rPr>
              <a:t>Attesa forte perdita nel 2020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xmlns="" id="{D02A4C9A-AC5F-4040-A2B7-281A74AD889D}"/>
              </a:ext>
            </a:extLst>
          </p:cNvPr>
          <p:cNvSpPr/>
          <p:nvPr/>
        </p:nvSpPr>
        <p:spPr>
          <a:xfrm>
            <a:off x="6419872" y="1240477"/>
            <a:ext cx="72000" cy="28061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riangolo isoscele 26">
            <a:extLst>
              <a:ext uri="{FF2B5EF4-FFF2-40B4-BE49-F238E27FC236}">
                <a16:creationId xmlns:a16="http://schemas.microsoft.com/office/drawing/2014/main" xmlns="" id="{FC624817-A5F7-4C99-B7FA-149DB98EE819}"/>
              </a:ext>
            </a:extLst>
          </p:cNvPr>
          <p:cNvSpPr/>
          <p:nvPr/>
        </p:nvSpPr>
        <p:spPr>
          <a:xfrm rot="10800000">
            <a:off x="6713437" y="4206936"/>
            <a:ext cx="2741100" cy="333529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xmlns="" id="{09D778E5-5C18-40F8-95C8-152791263934}"/>
              </a:ext>
            </a:extLst>
          </p:cNvPr>
          <p:cNvSpPr/>
          <p:nvPr/>
        </p:nvSpPr>
        <p:spPr>
          <a:xfrm>
            <a:off x="6499121" y="4916327"/>
            <a:ext cx="313360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2020 atteso in forte perdita, </a:t>
            </a: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per forte impatto  della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presenza di costi prevalentemente fissi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it-IT" sz="1200" dirty="0">
              <a:solidFill>
                <a:srgbClr val="000000"/>
              </a:solidFill>
              <a:latin typeface="Arial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Sui servizi regolati, i ricavi sono insufficienti a coprire i </a:t>
            </a: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relativi costi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fissi </a:t>
            </a: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(ammortamenti, oneri</a:t>
            </a:r>
            <a:r>
              <a:rPr kumimoji="0" lang="it-IT" sz="12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 mandatori, costo del debito)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xmlns="" id="{B3A9A319-5C4D-42C7-A847-3DEAEF4043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0171" y="1498309"/>
            <a:ext cx="2648712" cy="1827276"/>
          </a:xfrm>
          <a:prstGeom prst="rect">
            <a:avLst/>
          </a:prstGeom>
        </p:spPr>
      </p:pic>
      <p:sp>
        <p:nvSpPr>
          <p:cNvPr id="21" name="CasellaDiTesto 20">
            <a:extLst>
              <a:ext uri="{FF2B5EF4-FFF2-40B4-BE49-F238E27FC236}">
                <a16:creationId xmlns:a16="http://schemas.microsoft.com/office/drawing/2014/main" xmlns="" id="{0AE13996-B5C2-4B8A-B217-791C0FB6742F}"/>
              </a:ext>
            </a:extLst>
          </p:cNvPr>
          <p:cNvSpPr txBox="1"/>
          <p:nvPr/>
        </p:nvSpPr>
        <p:spPr>
          <a:xfrm>
            <a:off x="6989820" y="4586004"/>
            <a:ext cx="21410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20 in forte perdita</a:t>
            </a:r>
            <a:endParaRPr kumimoji="0" lang="it-IT" sz="1000" b="1" i="0" u="none" strike="noStrike" kern="1200" cap="none" spc="0" normalizeH="0" baseline="0" noProof="0" dirty="0">
              <a:ln>
                <a:noFill/>
              </a:ln>
              <a:solidFill>
                <a:srgbClr val="003F5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884134" y="6322099"/>
            <a:ext cx="4953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1600" b="1" dirty="0" smtClean="0">
                <a:solidFill>
                  <a:srgbClr val="003F56"/>
                </a:solidFill>
                <a:latin typeface="Arial" pitchFamily="34" charset="0"/>
                <a:cs typeface="Arial" pitchFamily="34" charset="0"/>
              </a:rPr>
              <a:t>Preservati </a:t>
            </a:r>
            <a:r>
              <a:rPr lang="it-IT" sz="1600" b="1" dirty="0">
                <a:solidFill>
                  <a:srgbClr val="003F56"/>
                </a:solidFill>
                <a:latin typeface="Arial" pitchFamily="34" charset="0"/>
                <a:cs typeface="Arial" pitchFamily="34" charset="0"/>
              </a:rPr>
              <a:t>sicurezza</a:t>
            </a:r>
            <a:r>
              <a:rPr lang="it-IT" sz="1600" b="1" dirty="0">
                <a:solidFill>
                  <a:srgbClr val="003F56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it-IT" sz="1600" b="1" dirty="0" err="1">
                <a:solidFill>
                  <a:srgbClr val="003F56"/>
                </a:solidFill>
                <a:latin typeface="Arial" pitchFamily="34" charset="0"/>
                <a:cs typeface="Arial" pitchFamily="34" charset="0"/>
              </a:rPr>
              <a:t>safety</a:t>
            </a:r>
            <a:r>
              <a:rPr lang="it-IT" sz="1600" b="1" dirty="0">
                <a:solidFill>
                  <a:srgbClr val="003F56"/>
                </a:solidFill>
                <a:latin typeface="Arial" pitchFamily="34" charset="0"/>
                <a:cs typeface="Arial" pitchFamily="34" charset="0"/>
              </a:rPr>
              <a:t> e normativa</a:t>
            </a:r>
            <a:endParaRPr lang="it-IT" sz="1600" b="1" dirty="0">
              <a:solidFill>
                <a:srgbClr val="003F5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272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C8334B3-0664-4E94-B5D5-28858B1DBB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482852"/>
              </p:ext>
            </p:extLst>
          </p:nvPr>
        </p:nvGraphicFramePr>
        <p:xfrm>
          <a:off x="1294" y="858446"/>
          <a:ext cx="12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98" name="Diapositiva think-cell" r:id="rId30" imgW="395" imgH="394" progId="TCLayout.ActiveDocument.1">
                  <p:embed/>
                </p:oleObj>
              </mc:Choice>
              <mc:Fallback>
                <p:oleObj name="Diapositiva think-cell" r:id="rId30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C8334B3-0664-4E94-B5D5-28858B1DBB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294" y="858446"/>
                        <a:ext cx="12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3CA62C-932D-461D-8B58-7F4E9B99654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" y="857255"/>
            <a:ext cx="128985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100" b="1" dirty="0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5A148FE-A5C0-41E8-8064-B5EF8B1CA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206" y="140326"/>
            <a:ext cx="8691727" cy="6842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914400" eaLnBrk="0" hangingPunct="0">
              <a:lnSpc>
                <a:spcPct val="100000"/>
              </a:lnSpc>
              <a:spcBef>
                <a:spcPts val="0"/>
              </a:spcBef>
            </a:pPr>
            <a:r>
              <a:rPr lang="it-IT" altLang="it-IT" dirty="0" err="1">
                <a:solidFill>
                  <a:srgbClr val="000000"/>
                </a:solidFill>
                <a:cs typeface="Arial" pitchFamily="34" charset="0"/>
              </a:rPr>
              <a:t>Capex</a:t>
            </a:r>
            <a:r>
              <a:rPr lang="it-IT" altLang="it-IT" dirty="0">
                <a:solidFill>
                  <a:srgbClr val="000000"/>
                </a:solidFill>
                <a:cs typeface="Arial" pitchFamily="34" charset="0"/>
              </a:rPr>
              <a:t> 2020: avanzamento piano condizionato da emergenza Covid-19 e conseguente calo del traffico</a:t>
            </a:r>
          </a:p>
        </p:txBody>
      </p:sp>
      <p:cxnSp>
        <p:nvCxnSpPr>
          <p:cNvPr id="6" name="Connettore 1 5"/>
          <p:cNvCxnSpPr/>
          <p:nvPr>
            <p:custDataLst>
              <p:tags r:id="rId4"/>
            </p:custDataLst>
          </p:nvPr>
        </p:nvCxnSpPr>
        <p:spPr bwMode="gray">
          <a:xfrm>
            <a:off x="1166815" y="2327275"/>
            <a:ext cx="374650" cy="0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1 9"/>
          <p:cNvCxnSpPr/>
          <p:nvPr>
            <p:custDataLst>
              <p:tags r:id="rId5"/>
            </p:custDataLst>
          </p:nvPr>
        </p:nvCxnSpPr>
        <p:spPr bwMode="gray">
          <a:xfrm>
            <a:off x="2011365" y="3273425"/>
            <a:ext cx="374650" cy="0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1 16"/>
          <p:cNvCxnSpPr/>
          <p:nvPr>
            <p:custDataLst>
              <p:tags r:id="rId6"/>
            </p:custDataLst>
          </p:nvPr>
        </p:nvCxnSpPr>
        <p:spPr bwMode="gray">
          <a:xfrm>
            <a:off x="2855913" y="3452813"/>
            <a:ext cx="374650" cy="0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1 24"/>
          <p:cNvCxnSpPr/>
          <p:nvPr>
            <p:custDataLst>
              <p:tags r:id="rId7"/>
            </p:custDataLst>
          </p:nvPr>
        </p:nvCxnSpPr>
        <p:spPr bwMode="gray">
          <a:xfrm>
            <a:off x="3698877" y="3743325"/>
            <a:ext cx="374650" cy="0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1 30"/>
          <p:cNvCxnSpPr/>
          <p:nvPr>
            <p:custDataLst>
              <p:tags r:id="rId8"/>
            </p:custDataLst>
          </p:nvPr>
        </p:nvCxnSpPr>
        <p:spPr bwMode="gray">
          <a:xfrm>
            <a:off x="4543427" y="3775075"/>
            <a:ext cx="374650" cy="0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Chart 3">
            <a:extLst>
              <a:ext uri="{FF2B5EF4-FFF2-40B4-BE49-F238E27FC236}">
                <a16:creationId xmlns:a16="http://schemas.microsoft.com/office/drawing/2014/main" xmlns="" id="{FD510C56-9BBE-47CA-8FB3-6074EDB88DC6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5486402"/>
              </p:ext>
            </p:extLst>
          </p:nvPr>
        </p:nvGraphicFramePr>
        <p:xfrm>
          <a:off x="427038" y="2106613"/>
          <a:ext cx="5230812" cy="2673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66" name="Connettore 1 65"/>
          <p:cNvCxnSpPr/>
          <p:nvPr>
            <p:custDataLst>
              <p:tags r:id="rId10"/>
            </p:custDataLst>
          </p:nvPr>
        </p:nvCxnSpPr>
        <p:spPr bwMode="gray">
          <a:xfrm flipV="1">
            <a:off x="931863" y="2003425"/>
            <a:ext cx="0" cy="7620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ttore 1 85"/>
          <p:cNvCxnSpPr/>
          <p:nvPr>
            <p:custDataLst>
              <p:tags r:id="rId11"/>
            </p:custDataLst>
          </p:nvPr>
        </p:nvCxnSpPr>
        <p:spPr bwMode="gray">
          <a:xfrm>
            <a:off x="931865" y="2003425"/>
            <a:ext cx="42211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ttore 1 86"/>
          <p:cNvCxnSpPr/>
          <p:nvPr>
            <p:custDataLst>
              <p:tags r:id="rId12"/>
            </p:custDataLst>
          </p:nvPr>
        </p:nvCxnSpPr>
        <p:spPr bwMode="gray">
          <a:xfrm>
            <a:off x="5153025" y="2003425"/>
            <a:ext cx="0" cy="152400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ttore 1 62"/>
          <p:cNvCxnSpPr/>
          <p:nvPr>
            <p:custDataLst>
              <p:tags r:id="rId13"/>
            </p:custDataLst>
          </p:nvPr>
        </p:nvCxnSpPr>
        <p:spPr bwMode="gray">
          <a:xfrm flipV="1">
            <a:off x="4308475" y="3759201"/>
            <a:ext cx="0" cy="41275"/>
          </a:xfrm>
          <a:prstGeom prst="line">
            <a:avLst/>
          </a:prstGeom>
          <a:ln w="6350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ttore 1 31"/>
          <p:cNvCxnSpPr/>
          <p:nvPr>
            <p:custDataLst>
              <p:tags r:id="rId14"/>
            </p:custDataLst>
          </p:nvPr>
        </p:nvCxnSpPr>
        <p:spPr bwMode="gray">
          <a:xfrm flipV="1">
            <a:off x="1776413" y="3197225"/>
            <a:ext cx="0" cy="101600"/>
          </a:xfrm>
          <a:prstGeom prst="line">
            <a:avLst/>
          </a:prstGeom>
          <a:ln w="6350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ttore 1 49"/>
          <p:cNvCxnSpPr/>
          <p:nvPr>
            <p:custDataLst>
              <p:tags r:id="rId15"/>
            </p:custDataLst>
          </p:nvPr>
        </p:nvCxnSpPr>
        <p:spPr bwMode="gray">
          <a:xfrm flipV="1">
            <a:off x="3463925" y="3667125"/>
            <a:ext cx="0" cy="101600"/>
          </a:xfrm>
          <a:prstGeom prst="line">
            <a:avLst/>
          </a:prstGeom>
          <a:ln w="6350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ttore 1 45"/>
          <p:cNvCxnSpPr/>
          <p:nvPr>
            <p:custDataLst>
              <p:tags r:id="rId16"/>
            </p:custDataLst>
          </p:nvPr>
        </p:nvCxnSpPr>
        <p:spPr bwMode="gray">
          <a:xfrm flipV="1">
            <a:off x="2620963" y="3376613"/>
            <a:ext cx="0" cy="101600"/>
          </a:xfrm>
          <a:prstGeom prst="line">
            <a:avLst/>
          </a:prstGeom>
          <a:ln w="6350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484312" y="4748213"/>
            <a:ext cx="5857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CC0BE41-869F-41BC-974A-5E28D2326D26}" type="datetime'T''''''''''''''e''''''''r''m''''i''''''''n''a''''l'''''''">
              <a:rPr lang="it-IT" altLang="en-US" sz="120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erminal</a:t>
            </a:fld>
            <a:endParaRPr lang="it-IT" sz="1200" dirty="0">
              <a:solidFill>
                <a:srgbClr val="000000"/>
              </a:solidFill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63575" y="4748213"/>
            <a:ext cx="53816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DF8B39E-082B-491E-997C-D92C02B5CBF0}" type="datetime'2''''''''''0''2''''0'''''''''' ''''''&#10;Bu''dg''''e''''''t'">
              <a:rPr lang="it-IT" altLang="en-US" sz="120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 
Budget</a:t>
            </a:fld>
            <a:endParaRPr lang="it-IT" sz="1200" b="1" dirty="0">
              <a:solidFill>
                <a:srgbClr val="000000"/>
              </a:solidFill>
            </a:endParaRPr>
          </a:p>
        </p:txBody>
      </p:sp>
      <p:sp>
        <p:nvSpPr>
          <p:cNvPr id="71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616077" y="3298825"/>
            <a:ext cx="3206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F5D9F44-1A87-4FC8-88D4-C7B9DBF0F3E8}" type="datetime'''''''-1''''''''''''''''2''''8'''''''''''''''''">
              <a:rPr lang="it-IT" altLang="en-US" sz="110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28</a:t>
            </a:fld>
            <a:endParaRPr lang="it-IT" sz="1100" b="1" dirty="0">
              <a:solidFill>
                <a:srgbClr val="000000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354263" y="4748213"/>
            <a:ext cx="534988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3FFFA6-7CBF-4866-90E8-38AE0086E82D}" type="datetime'''''''Pis''t''''''''e'' e'''''' Pi''az''z''''a''''''''li'''''">
              <a:rPr lang="it-IT" altLang="en-US" sz="120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iste e Piazzali</a:t>
            </a:fld>
            <a:endParaRPr lang="it-IT" sz="1200" dirty="0">
              <a:solidFill>
                <a:srgbClr val="000000"/>
              </a:solidFill>
            </a:endParaRPr>
          </a:p>
        </p:txBody>
      </p:sp>
      <p:sp>
        <p:nvSpPr>
          <p:cNvPr id="72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00313" y="3478213"/>
            <a:ext cx="242888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EB96E7F-2D3C-4385-A630-F3288B68F19C}" type="datetime'''''''''''-''''''''''''''''''''''''''''''2''''4'''''">
              <a:rPr lang="it-IT" altLang="en-US" sz="110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4</a:t>
            </a:fld>
            <a:endParaRPr lang="it-IT" sz="1100" b="1" dirty="0">
              <a:solidFill>
                <a:srgbClr val="000000"/>
              </a:solidFill>
            </a:endParaRPr>
          </a:p>
        </p:txBody>
      </p:sp>
      <p:sp>
        <p:nvSpPr>
          <p:cNvPr id="73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343275" y="3768725"/>
            <a:ext cx="242888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85F0298-035E-4729-8927-08A5A7D3407F}" type="datetime'''''''-''''''3''''''''''''9'''''''''''''">
              <a:rPr lang="it-IT" altLang="en-US" sz="110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9</a:t>
            </a:fld>
            <a:endParaRPr lang="it-IT" sz="1100" b="1" dirty="0">
              <a:solidFill>
                <a:srgbClr val="000000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052764" y="4748213"/>
            <a:ext cx="8239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2AC2F2-B119-420C-8E00-C68B204229DC}" type="datetime'A''l''t''''r''i'' ''I''''''''''''nve''s''ti''''m''en''''ti'''">
              <a:rPr lang="it-IT" altLang="en-US" sz="120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ltri Investimenti</a:t>
            </a:fld>
            <a:endParaRPr lang="it-IT" sz="1200" dirty="0">
              <a:solidFill>
                <a:srgbClr val="000000"/>
              </a:solidFill>
            </a:endParaRPr>
          </a:p>
        </p:txBody>
      </p:sp>
      <p:sp>
        <p:nvSpPr>
          <p:cNvPr id="74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225925" y="3800475"/>
            <a:ext cx="1651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EE0E6F8-B86E-4D3E-A99E-3DEAD65EF70C}" type="datetime'''''''''''''''''''''''''''''''''-''''''''''''4'''''''">
              <a:rPr lang="it-IT" altLang="en-US" sz="110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4</a:t>
            </a:fld>
            <a:endParaRPr lang="it-IT" sz="1100" b="1" dirty="0">
              <a:solidFill>
                <a:srgbClr val="000000"/>
              </a:solidFill>
            </a:endParaRPr>
          </a:p>
        </p:txBody>
      </p:sp>
      <p:sp>
        <p:nvSpPr>
          <p:cNvPr id="24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983038" y="4748213"/>
            <a:ext cx="6524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28C979-2FD0-4EBE-B200-8536AE17E08F}" type="datetime'''''''Cia''''''''''''''m''''''''pi''''''''''n''o'''''">
              <a:rPr lang="it-IT" altLang="en-US" sz="120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iampino</a:t>
            </a:fld>
            <a:endParaRPr lang="it-IT" sz="1200" dirty="0">
              <a:solidFill>
                <a:srgbClr val="000000"/>
              </a:solidFill>
            </a:endParaRPr>
          </a:p>
        </p:txBody>
      </p:sp>
      <p:sp>
        <p:nvSpPr>
          <p:cNvPr id="30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876800" y="4748213"/>
            <a:ext cx="554038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219B12A-8F17-46B6-90DE-276B2AB294A1}" type="datetime'2''0''2''0 ''&#10;''''Stima ''''a'' ''''&#10;''''f''ini''''''r''e'''''">
              <a:rPr lang="it-IT" altLang="en-US" sz="120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 
Stima a 
finire</a:t>
            </a:fld>
            <a:endParaRPr lang="it-IT" sz="1200" b="1" dirty="0">
              <a:solidFill>
                <a:srgbClr val="000000"/>
              </a:solidFill>
            </a:endParaRPr>
          </a:p>
        </p:txBody>
      </p:sp>
      <p:sp>
        <p:nvSpPr>
          <p:cNvPr id="85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46375" y="1743075"/>
            <a:ext cx="590550" cy="52228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808080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50D6BDE-C1DA-45B1-A1D7-449DF3A72442}" type="datetime'''-''''''''''''''1''''''''''9''''''''''''6'''''''''''''''''">
              <a:rPr lang="it-IT" altLang="en-US" sz="110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96</a:t>
            </a:fld>
            <a:r>
              <a:rPr lang="it-IT" altLang="en-US" sz="1100" b="1" dirty="0">
                <a:solidFill>
                  <a:srgbClr val="000000"/>
                </a:solidFill>
              </a:rPr>
              <a:t/>
            </a:r>
            <a:br>
              <a:rPr lang="it-IT" altLang="en-US" sz="1100" b="1" dirty="0">
                <a:solidFill>
                  <a:srgbClr val="000000"/>
                </a:solidFill>
              </a:rPr>
            </a:br>
            <a:r>
              <a:rPr lang="it-IT" altLang="en-US" sz="1100" b="1" dirty="0">
                <a:solidFill>
                  <a:srgbClr val="000000"/>
                </a:solidFill>
              </a:rPr>
              <a:t>(</a:t>
            </a:r>
            <a:fld id="{149F508D-EB99-455C-92D9-17B0E9A8F008}" type="datetime'''''''-''''''''''''''6''''1''''%'''''''''">
              <a:rPr lang="it-IT" altLang="en-US" sz="110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61%</a:t>
            </a:fld>
            <a:r>
              <a:rPr lang="it-IT" altLang="en-US" sz="1100" b="1" dirty="0">
                <a:solidFill>
                  <a:srgbClr val="000000"/>
                </a:solidFill>
              </a:rPr>
              <a:t>)</a:t>
            </a:r>
            <a:endParaRPr lang="it-IT" sz="1100" b="1" dirty="0">
              <a:solidFill>
                <a:srgbClr val="000000"/>
              </a:solidFill>
            </a:endParaRPr>
          </a:p>
        </p:txBody>
      </p:sp>
      <p:cxnSp>
        <p:nvCxnSpPr>
          <p:cNvPr id="62" name="Connettore 1 61"/>
          <p:cNvCxnSpPr/>
          <p:nvPr/>
        </p:nvCxnSpPr>
        <p:spPr>
          <a:xfrm>
            <a:off x="414340" y="1642745"/>
            <a:ext cx="5327650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sellaDiTesto 75"/>
          <p:cNvSpPr txBox="1"/>
          <p:nvPr/>
        </p:nvSpPr>
        <p:spPr>
          <a:xfrm>
            <a:off x="579438" y="1104583"/>
            <a:ext cx="49958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i="1" dirty="0">
                <a:solidFill>
                  <a:srgbClr val="000000"/>
                </a:solidFill>
              </a:rPr>
              <a:t>Stima a finire </a:t>
            </a:r>
            <a:r>
              <a:rPr lang="it-IT" sz="1600" b="1" i="1" dirty="0" err="1">
                <a:solidFill>
                  <a:srgbClr val="000000"/>
                </a:solidFill>
              </a:rPr>
              <a:t>Capex</a:t>
            </a:r>
            <a:r>
              <a:rPr lang="it-IT" sz="1600" b="1" i="1" dirty="0">
                <a:solidFill>
                  <a:srgbClr val="000000"/>
                </a:solidFill>
              </a:rPr>
              <a:t> 2020 (€ mln)</a:t>
            </a:r>
          </a:p>
        </p:txBody>
      </p:sp>
      <p:sp>
        <p:nvSpPr>
          <p:cNvPr id="78" name="CasellaDiTesto 77"/>
          <p:cNvSpPr txBox="1"/>
          <p:nvPr/>
        </p:nvSpPr>
        <p:spPr>
          <a:xfrm>
            <a:off x="6026328" y="1760494"/>
            <a:ext cx="3788234" cy="317779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>
              <a:spcAft>
                <a:spcPts val="300"/>
              </a:spcAft>
            </a:pPr>
            <a:r>
              <a:rPr lang="it-IT" sz="1200" b="1" u="sng" dirty="0">
                <a:solidFill>
                  <a:srgbClr val="000000"/>
                </a:solidFill>
              </a:rPr>
              <a:t>Principali differenze:</a:t>
            </a:r>
          </a:p>
          <a:p>
            <a:pPr marL="171450" indent="-1714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rgbClr val="000000"/>
                </a:solidFill>
              </a:rPr>
              <a:t>Terminal (-128 € mln)</a:t>
            </a:r>
            <a:r>
              <a:rPr lang="it-IT" sz="1200" dirty="0">
                <a:solidFill>
                  <a:srgbClr val="000000"/>
                </a:solidFill>
              </a:rPr>
              <a:t>, di cui: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</a:rPr>
              <a:t>Sistema Aerostazioni Est, -98 € mln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</a:rPr>
              <a:t>Riqualifica Terminal 3, -20 € mln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</a:rPr>
              <a:t>Altri investimenti/ variazioni, -10 € mln</a:t>
            </a:r>
          </a:p>
          <a:p>
            <a:pPr marL="171450" indent="-1714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rgbClr val="000000"/>
                </a:solidFill>
              </a:rPr>
              <a:t>Piste e Piazzali (-24 € mln)</a:t>
            </a:r>
            <a:r>
              <a:rPr lang="it-IT" sz="1200" dirty="0">
                <a:solidFill>
                  <a:srgbClr val="000000"/>
                </a:solidFill>
              </a:rPr>
              <a:t>, di cui: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</a:rPr>
              <a:t>Sala controllo </a:t>
            </a:r>
            <a:r>
              <a:rPr lang="it-IT" sz="1200" dirty="0" err="1">
                <a:solidFill>
                  <a:srgbClr val="000000"/>
                </a:solidFill>
              </a:rPr>
              <a:t>centralizz</a:t>
            </a:r>
            <a:r>
              <a:rPr lang="it-IT" sz="1200" dirty="0">
                <a:solidFill>
                  <a:srgbClr val="000000"/>
                </a:solidFill>
              </a:rPr>
              <a:t>. (APOC), -9 € mln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</a:rPr>
              <a:t>Nuova area logistica carburanti, -3 € mln 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</a:rPr>
              <a:t>Altri interventi/ variazioni, -12 € mln</a:t>
            </a:r>
            <a:endParaRPr lang="it-IT" sz="1200" b="1" dirty="0">
              <a:solidFill>
                <a:srgbClr val="000000"/>
              </a:solidFill>
            </a:endParaRPr>
          </a:p>
          <a:p>
            <a:pPr marL="171450" indent="-1714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rgbClr val="000000"/>
                </a:solidFill>
              </a:rPr>
              <a:t>Altri Investimenti (-39 € mln)</a:t>
            </a:r>
            <a:r>
              <a:rPr lang="it-IT" sz="1200" dirty="0">
                <a:solidFill>
                  <a:srgbClr val="000000"/>
                </a:solidFill>
              </a:rPr>
              <a:t>, di cui: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</a:rPr>
              <a:t>Viabilità e parcheggi, -12 € mln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</a:rPr>
              <a:t>Sistemi informativi, -3 € mln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</a:rPr>
              <a:t>Altri (edifici, impianti e reti), -24 € mln</a:t>
            </a:r>
            <a:endParaRPr lang="it-IT" sz="1200" b="1" dirty="0">
              <a:solidFill>
                <a:srgbClr val="000000"/>
              </a:solidFill>
            </a:endParaRPr>
          </a:p>
          <a:p>
            <a:pPr marL="171450" lvl="1" indent="-1714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rgbClr val="000000"/>
                </a:solidFill>
              </a:rPr>
              <a:t>Ciampino (-4 € mln)</a:t>
            </a:r>
          </a:p>
        </p:txBody>
      </p:sp>
      <p:cxnSp>
        <p:nvCxnSpPr>
          <p:cNvPr id="79" name="Connettore 1 78"/>
          <p:cNvCxnSpPr/>
          <p:nvPr/>
        </p:nvCxnSpPr>
        <p:spPr>
          <a:xfrm>
            <a:off x="6021167" y="1642745"/>
            <a:ext cx="3801600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asellaDiTesto 79"/>
          <p:cNvSpPr txBox="1"/>
          <p:nvPr/>
        </p:nvSpPr>
        <p:spPr>
          <a:xfrm>
            <a:off x="6224447" y="1043627"/>
            <a:ext cx="33480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i="1" dirty="0">
                <a:solidFill>
                  <a:srgbClr val="000000"/>
                </a:solidFill>
              </a:rPr>
              <a:t>Confronto Stima a finire vs Budget</a:t>
            </a:r>
          </a:p>
        </p:txBody>
      </p:sp>
      <p:sp>
        <p:nvSpPr>
          <p:cNvPr id="102" name="CasellaDiTesto 101"/>
          <p:cNvSpPr txBox="1"/>
          <p:nvPr/>
        </p:nvSpPr>
        <p:spPr>
          <a:xfrm>
            <a:off x="201802" y="6664576"/>
            <a:ext cx="94681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>
                <a:solidFill>
                  <a:srgbClr val="000000"/>
                </a:solidFill>
                <a:cs typeface="Arial" pitchFamily="34" charset="0"/>
              </a:rPr>
              <a:t>NB: vista ITA GAAP; non include iniziative immobiliari</a:t>
            </a:r>
          </a:p>
        </p:txBody>
      </p:sp>
      <p:sp>
        <p:nvSpPr>
          <p:cNvPr id="88" name="Parentesi graffa aperta 87"/>
          <p:cNvSpPr/>
          <p:nvPr/>
        </p:nvSpPr>
        <p:spPr>
          <a:xfrm rot="16200000">
            <a:off x="2482850" y="2782438"/>
            <a:ext cx="331788" cy="2474913"/>
          </a:xfrm>
          <a:prstGeom prst="leftBrace">
            <a:avLst/>
          </a:prstGeom>
          <a:ln w="9525" cap="rnd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0000"/>
              </a:solidFill>
            </a:endParaRPr>
          </a:p>
        </p:txBody>
      </p:sp>
      <p:sp>
        <p:nvSpPr>
          <p:cNvPr id="113" name="CasellaDiTesto 112"/>
          <p:cNvSpPr txBox="1"/>
          <p:nvPr/>
        </p:nvSpPr>
        <p:spPr>
          <a:xfrm>
            <a:off x="1411279" y="4154034"/>
            <a:ext cx="2474923" cy="26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i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Totale Fiumicino  -192 M€</a:t>
            </a:r>
          </a:p>
        </p:txBody>
      </p:sp>
      <p:sp>
        <p:nvSpPr>
          <p:cNvPr id="37" name="Triangolo isoscele 36">
            <a:extLst>
              <a:ext uri="{FF2B5EF4-FFF2-40B4-BE49-F238E27FC236}">
                <a16:creationId xmlns:a16="http://schemas.microsoft.com/office/drawing/2014/main" xmlns="" id="{C05C1E1E-325B-48C3-9216-F92F8C2A28E9}"/>
              </a:ext>
            </a:extLst>
          </p:cNvPr>
          <p:cNvSpPr/>
          <p:nvPr/>
        </p:nvSpPr>
        <p:spPr>
          <a:xfrm rot="10800000">
            <a:off x="2232252" y="5286041"/>
            <a:ext cx="1247321" cy="315686"/>
          </a:xfrm>
          <a:prstGeom prst="triangle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>
              <a:solidFill>
                <a:srgbClr val="FFFFFF"/>
              </a:solidFill>
            </a:endParaRP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xmlns="" id="{F386665C-3F4C-4B05-925D-289467E205D3}"/>
              </a:ext>
            </a:extLst>
          </p:cNvPr>
          <p:cNvSpPr/>
          <p:nvPr/>
        </p:nvSpPr>
        <p:spPr>
          <a:xfrm>
            <a:off x="427038" y="5722814"/>
            <a:ext cx="8931566" cy="85116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schemeClr val="tx1"/>
                </a:solidFill>
              </a:rPr>
              <a:t>L’emergenza ha determinato </a:t>
            </a:r>
            <a:r>
              <a:rPr lang="it-IT" sz="1400" dirty="0" smtClean="0">
                <a:solidFill>
                  <a:schemeClr val="tx1"/>
                </a:solidFill>
              </a:rPr>
              <a:t>sospensione </a:t>
            </a:r>
            <a:r>
              <a:rPr lang="it-IT" sz="1400" dirty="0">
                <a:solidFill>
                  <a:schemeClr val="tx1"/>
                </a:solidFill>
              </a:rPr>
              <a:t>dei cantieri e </a:t>
            </a:r>
            <a:r>
              <a:rPr lang="it-IT" sz="1400" dirty="0" err="1">
                <a:solidFill>
                  <a:schemeClr val="tx1"/>
                </a:solidFill>
              </a:rPr>
              <a:t>ripianificazione</a:t>
            </a:r>
            <a:r>
              <a:rPr lang="it-IT" sz="1400" dirty="0">
                <a:solidFill>
                  <a:schemeClr val="tx1"/>
                </a:solidFill>
              </a:rPr>
              <a:t> </a:t>
            </a:r>
            <a:r>
              <a:rPr lang="it-IT" sz="1400" dirty="0" smtClean="0">
                <a:solidFill>
                  <a:schemeClr val="tx1"/>
                </a:solidFill>
              </a:rPr>
              <a:t>dei </a:t>
            </a:r>
            <a:r>
              <a:rPr lang="it-IT" sz="1400" dirty="0">
                <a:solidFill>
                  <a:schemeClr val="tx1"/>
                </a:solidFill>
              </a:rPr>
              <a:t>principali progetti previsti nel 2020 il cui avanzamento avrebbe contribuito a determinare un differenziale positivo di periodo con impegni di CDP</a:t>
            </a:r>
          </a:p>
        </p:txBody>
      </p:sp>
    </p:spTree>
    <p:extLst>
      <p:ext uri="{BB962C8B-B14F-4D97-AF65-F5344CB8AC3E}">
        <p14:creationId xmlns:p14="http://schemas.microsoft.com/office/powerpoint/2010/main" val="1108984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562" name="Object 69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668216"/>
              </p:ext>
            </p:extLst>
          </p:nvPr>
        </p:nvGraphicFramePr>
        <p:xfrm>
          <a:off x="1595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22" name="Diapositiva think-cell" r:id="rId28" imgW="360" imgH="360" progId="TCLayout.ActiveDocument.1">
                  <p:embed/>
                </p:oleObj>
              </mc:Choice>
              <mc:Fallback>
                <p:oleObj name="Diapositiva think-cell" r:id="rId28" imgW="360" imgH="360" progId="TCLayout.ActiveDocument.1">
                  <p:embed/>
                  <p:pic>
                    <p:nvPicPr>
                      <p:cNvPr id="66562" name="Object 69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60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546270" y="209624"/>
            <a:ext cx="9019969" cy="398181"/>
          </a:xfrm>
        </p:spPr>
        <p:txBody>
          <a:bodyPr/>
          <a:lstStyle/>
          <a:p>
            <a:pPr>
              <a:defRPr/>
            </a:pPr>
            <a:r>
              <a:rPr lang="it-IT" sz="2400" kern="1200" dirty="0">
                <a:solidFill>
                  <a:schemeClr val="tx2"/>
                </a:solidFill>
              </a:rPr>
              <a:t>Dal 2016 costante riduzione tariffaria a FCO…</a:t>
            </a:r>
          </a:p>
        </p:txBody>
      </p:sp>
      <p:cxnSp>
        <p:nvCxnSpPr>
          <p:cNvPr id="38" name="Connettore 1 13">
            <a:extLst>
              <a:ext uri="{FF2B5EF4-FFF2-40B4-BE49-F238E27FC236}">
                <a16:creationId xmlns:a16="http://schemas.microsoft.com/office/drawing/2014/main" xmlns="" id="{37C13C95-B2D8-4BAA-9B2A-FD02CCF66DD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4670425" y="5802313"/>
            <a:ext cx="0" cy="46038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ttore 1 7">
            <a:extLst>
              <a:ext uri="{FF2B5EF4-FFF2-40B4-BE49-F238E27FC236}">
                <a16:creationId xmlns:a16="http://schemas.microsoft.com/office/drawing/2014/main" xmlns="" id="{1D7849D2-3498-4BBD-9DBE-DE285FEF803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127125" y="5802313"/>
            <a:ext cx="0" cy="46038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ttore 1 21">
            <a:extLst>
              <a:ext uri="{FF2B5EF4-FFF2-40B4-BE49-F238E27FC236}">
                <a16:creationId xmlns:a16="http://schemas.microsoft.com/office/drawing/2014/main" xmlns="" id="{6B4A7514-FAB8-4A22-B501-B6E0B597357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84263" y="5802313"/>
            <a:ext cx="42863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1 14">
            <a:extLst>
              <a:ext uri="{FF2B5EF4-FFF2-40B4-BE49-F238E27FC236}">
                <a16:creationId xmlns:a16="http://schemas.microsoft.com/office/drawing/2014/main" xmlns="" id="{523282DC-17A5-460F-9F14-0CF148158BE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7032625" y="5802313"/>
            <a:ext cx="0" cy="460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1 8">
            <a:extLst>
              <a:ext uri="{FF2B5EF4-FFF2-40B4-BE49-F238E27FC236}">
                <a16:creationId xmlns:a16="http://schemas.microsoft.com/office/drawing/2014/main" xmlns="" id="{D2D74152-253E-4AEE-8238-D5C2C9A0DAC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308225" y="5802313"/>
            <a:ext cx="0" cy="46038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ttore 1 9">
            <a:extLst>
              <a:ext uri="{FF2B5EF4-FFF2-40B4-BE49-F238E27FC236}">
                <a16:creationId xmlns:a16="http://schemas.microsoft.com/office/drawing/2014/main" xmlns="" id="{EBE76CC9-B8D3-4AE7-BCFD-65F82491F1A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3489325" y="5802313"/>
            <a:ext cx="0" cy="46038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ttore 1 18">
            <a:extLst>
              <a:ext uri="{FF2B5EF4-FFF2-40B4-BE49-F238E27FC236}">
                <a16:creationId xmlns:a16="http://schemas.microsoft.com/office/drawing/2014/main" xmlns="" id="{582782B3-78C0-458F-9510-95E8CB1DDD8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84263" y="50514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ttore 1 19">
            <a:extLst>
              <a:ext uri="{FF2B5EF4-FFF2-40B4-BE49-F238E27FC236}">
                <a16:creationId xmlns:a16="http://schemas.microsoft.com/office/drawing/2014/main" xmlns="" id="{B7AC1D3A-E921-4B9E-8600-73E0A8244A1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84263" y="354806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ttore 1 10">
            <a:extLst>
              <a:ext uri="{FF2B5EF4-FFF2-40B4-BE49-F238E27FC236}">
                <a16:creationId xmlns:a16="http://schemas.microsoft.com/office/drawing/2014/main" xmlns="" id="{A9AF7981-74CA-4C87-BE9A-72FD4DEAF625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84263" y="2797175"/>
            <a:ext cx="42863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>
            <a:extLst>
              <a:ext uri="{FF2B5EF4-FFF2-40B4-BE49-F238E27FC236}">
                <a16:creationId xmlns:a16="http://schemas.microsoft.com/office/drawing/2014/main" xmlns="" id="{CF71A7F5-2401-495E-83E3-43EDC22F611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84263" y="2046288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Chart 3">
            <a:extLst>
              <a:ext uri="{FF2B5EF4-FFF2-40B4-BE49-F238E27FC236}">
                <a16:creationId xmlns:a16="http://schemas.microsoft.com/office/drawing/2014/main" xmlns="" id="{B2A41E5A-B8A1-43E9-A383-6D54A79D8E63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44216604"/>
              </p:ext>
            </p:extLst>
          </p:nvPr>
        </p:nvGraphicFramePr>
        <p:xfrm>
          <a:off x="661988" y="1947863"/>
          <a:ext cx="6664325" cy="415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 useBgFill="1">
        <p:nvSpPr>
          <p:cNvPr id="111" name="Text Placeholder 2">
            <a:extLst>
              <a:ext uri="{FF2B5EF4-FFF2-40B4-BE49-F238E27FC236}">
                <a16:creationId xmlns:a16="http://schemas.microsoft.com/office/drawing/2014/main" xmlns="" id="{BE03BBC7-2679-4B38-9C51-3F8B72A6B64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321050" y="4170363"/>
            <a:ext cx="279400" cy="1524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1" fontAlgn="base" hangingPunct="1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</a:pPr>
            <a:fld id="{A276D09D-2803-4373-BA96-086FBEBB72D0}" type="datetime'''''''''''''''''''''''''''''''''''''''''''''''''30,''''''5'">
              <a:rPr lang="it-IT" altLang="en-US" sz="1000" b="0" smtClean="0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</a:pPr>
              <a:t>30,5</a:t>
            </a:fld>
            <a:endParaRPr lang="it-IT" altLang="it-IT" sz="1000" b="0" dirty="0">
              <a:sym typeface="+mn-lt"/>
            </a:endParaRPr>
          </a:p>
        </p:txBody>
      </p:sp>
      <p:sp useBgFill="1">
        <p:nvSpPr>
          <p:cNvPr id="117" name="Text Placeholder 2">
            <a:extLst>
              <a:ext uri="{FF2B5EF4-FFF2-40B4-BE49-F238E27FC236}">
                <a16:creationId xmlns:a16="http://schemas.microsoft.com/office/drawing/2014/main" xmlns="" id="{64F70B57-FB3B-4F13-BA04-D0D1B037792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540250" y="4129088"/>
            <a:ext cx="279400" cy="1524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1" fontAlgn="base" hangingPunct="1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</a:pPr>
            <a:fld id="{6EEE75AA-97C6-458E-A0D1-67E1CCBEE6C0}" type="datetime'''''''''''3''''''''''''''''''''''0'''''',''''''1'">
              <a:rPr lang="it-IT" altLang="en-US" sz="1000" b="0" smtClean="0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</a:pPr>
              <a:t>30,1</a:t>
            </a:fld>
            <a:endParaRPr lang="it-IT" altLang="it-IT" sz="1000" b="0" dirty="0">
              <a:sym typeface="+mn-lt"/>
            </a:endParaRPr>
          </a:p>
        </p:txBody>
      </p:sp>
      <p:sp useBgFill="1">
        <p:nvSpPr>
          <p:cNvPr id="121" name="Text Placeholder 2">
            <a:extLst>
              <a:ext uri="{FF2B5EF4-FFF2-40B4-BE49-F238E27FC236}">
                <a16:creationId xmlns:a16="http://schemas.microsoft.com/office/drawing/2014/main" xmlns="" id="{F47E86B8-9F43-4E23-89FE-B17F5AB23BA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702300" y="4168775"/>
            <a:ext cx="279400" cy="1524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1" fontAlgn="base" hangingPunct="1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</a:pPr>
            <a:fld id="{16FA0484-8DCF-4FD4-A8DE-C49EE8D7F395}" type="datetime'2''''''''''''''''''9,''''''''''''''''''9'''''''">
              <a:rPr lang="it-IT" altLang="en-US" sz="1000" b="0" smtClean="0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</a:pPr>
              <a:t>29,9</a:t>
            </a:fld>
            <a:endParaRPr lang="it-IT" altLang="it-IT" sz="1000" b="0" dirty="0">
              <a:sym typeface="+mn-lt"/>
            </a:endParaRPr>
          </a:p>
        </p:txBody>
      </p:sp>
      <p:sp useBgFill="1">
        <p:nvSpPr>
          <p:cNvPr id="128" name="Text Placeholder 2">
            <a:extLst>
              <a:ext uri="{FF2B5EF4-FFF2-40B4-BE49-F238E27FC236}">
                <a16:creationId xmlns:a16="http://schemas.microsoft.com/office/drawing/2014/main" xmlns="" id="{AD7178CC-9D9B-4B92-A4DB-ABA64407939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873875" y="4338638"/>
            <a:ext cx="279400" cy="1524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1" fontAlgn="base" hangingPunct="1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</a:pPr>
            <a:r>
              <a:rPr lang="it-IT" altLang="en-US" sz="1000" b="0" dirty="0" smtClean="0">
                <a:sym typeface="+mn-lt"/>
              </a:rPr>
              <a:t>28,8</a:t>
            </a:r>
            <a:endParaRPr lang="it-IT" altLang="it-IT" sz="1000" b="0" dirty="0">
              <a:sym typeface="+mn-lt"/>
            </a:endParaRPr>
          </a:p>
        </p:txBody>
      </p:sp>
      <p:sp useBgFill="1">
        <p:nvSpPr>
          <p:cNvPr id="42" name="Text Placeholder 2">
            <a:extLst>
              <a:ext uri="{FF2B5EF4-FFF2-40B4-BE49-F238E27FC236}">
                <a16:creationId xmlns:a16="http://schemas.microsoft.com/office/drawing/2014/main" xmlns="" id="{6CB7CFCB-5FEC-4623-A0B3-E8D29935426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171575" y="3932238"/>
            <a:ext cx="279400" cy="1524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1" fontAlgn="base" hangingPunct="1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</a:pPr>
            <a:fld id="{A3A3D435-F013-4C67-93AA-79BF5D826AB3}" type="datetime'''''''''''''''''''32,''''''''''8'''''''''''''''''''''''''''''">
              <a:rPr lang="it-IT" altLang="en-US" sz="1000" b="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</a:pPr>
              <a:t>32,8</a:t>
            </a:fld>
            <a:endParaRPr lang="it-IT" altLang="it-IT" sz="1000" b="0" dirty="0">
              <a:sym typeface="+mn-lt"/>
            </a:endParaRPr>
          </a:p>
        </p:txBody>
      </p:sp>
      <p:cxnSp>
        <p:nvCxnSpPr>
          <p:cNvPr id="2" name="Connettore diritto 1">
            <a:extLst>
              <a:ext uri="{FF2B5EF4-FFF2-40B4-BE49-F238E27FC236}">
                <a16:creationId xmlns:a16="http://schemas.microsoft.com/office/drawing/2014/main" xmlns="" id="{9492ED60-0E93-43F2-8E0F-A68EEE967A2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6049963" y="2022475"/>
            <a:ext cx="514350" cy="0"/>
          </a:xfrm>
          <a:prstGeom prst="line">
            <a:avLst/>
          </a:prstGeom>
          <a:ln w="19050" cap="rnd" cmpd="sng" algn="ctr">
            <a:solidFill>
              <a:srgbClr val="FF960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ttore 1 87">
            <a:extLst>
              <a:ext uri="{FF2B5EF4-FFF2-40B4-BE49-F238E27FC236}">
                <a16:creationId xmlns:a16="http://schemas.microsoft.com/office/drawing/2014/main" xmlns="" id="{EACB78DA-C77D-4535-8619-EE423B6AFD4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6064250" y="2241550"/>
            <a:ext cx="485775" cy="0"/>
          </a:xfrm>
          <a:prstGeom prst="line">
            <a:avLst/>
          </a:prstGeom>
          <a:ln w="28575" algn="ctr">
            <a:solidFill>
              <a:srgbClr val="4C6C9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diritto 11">
            <a:extLst>
              <a:ext uri="{FF2B5EF4-FFF2-40B4-BE49-F238E27FC236}">
                <a16:creationId xmlns:a16="http://schemas.microsoft.com/office/drawing/2014/main" xmlns="" id="{9D22F388-7463-4D92-9EDB-126D852B546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6049963" y="2460625"/>
            <a:ext cx="514350" cy="0"/>
          </a:xfrm>
          <a:prstGeom prst="line">
            <a:avLst/>
          </a:prstGeom>
          <a:ln w="28575" cap="rnd" cmpd="sng" algn="ctr">
            <a:solidFill>
              <a:srgbClr val="4C6C9C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ombo 66">
            <a:extLst>
              <a:ext uri="{FF2B5EF4-FFF2-40B4-BE49-F238E27FC236}">
                <a16:creationId xmlns:a16="http://schemas.microsoft.com/office/drawing/2014/main" xmlns="" id="{79C82E0E-7AE6-4212-9AAD-64925195C449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262688" y="2197100"/>
            <a:ext cx="88900" cy="88900"/>
          </a:xfrm>
          <a:prstGeom prst="diamond">
            <a:avLst/>
          </a:prstGeom>
          <a:solidFill>
            <a:srgbClr val="4C6C9C"/>
          </a:solidFill>
          <a:ln w="9525">
            <a:solidFill>
              <a:srgbClr val="4C6C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0000"/>
              </a:solidFill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xmlns="" id="{E8589E6A-8EBD-45BD-AE5B-FF286DF838B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629400" y="1944688"/>
            <a:ext cx="26130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ct val="93000"/>
              </a:lnSpc>
              <a:spcBef>
                <a:spcPts val="25"/>
              </a:spcBef>
              <a:buFont typeface="Arial" pitchFamily="34" charset="0"/>
              <a:defRPr sz="17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3000"/>
              </a:lnSpc>
              <a:spcBef>
                <a:spcPts val="38"/>
              </a:spcBef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3000"/>
              </a:lnSpc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3000"/>
              </a:lnSpc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76A89A4-7D91-4B4A-A689-B56A625FE8E8}" type="datetime'Ma''''''''x'' ricavi / pax (CDP ''''2''012-''16 e 201''7-21)'">
              <a:rPr lang="it-IT" altLang="en-US" sz="1100" b="0" smtClean="0">
                <a:solidFill>
                  <a:srgbClr val="000000"/>
                </a:solidFill>
              </a:rPr>
              <a:pPr/>
              <a:t>Max ricavi / pax (CDP 2012-16 e 2017-21)</a:t>
            </a:fld>
            <a:endParaRPr lang="it-IT" altLang="it-IT" sz="1100" b="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xmlns="" id="{25A830A9-002E-4583-B71D-53C7B0ED2D3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29400" y="2163763"/>
            <a:ext cx="21780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ct val="93000"/>
              </a:lnSpc>
              <a:spcBef>
                <a:spcPts val="25"/>
              </a:spcBef>
              <a:buFont typeface="Arial" pitchFamily="34" charset="0"/>
              <a:defRPr sz="17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3000"/>
              </a:lnSpc>
              <a:spcBef>
                <a:spcPts val="38"/>
              </a:spcBef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3000"/>
              </a:lnSpc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3000"/>
              </a:lnSpc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2CE8BCA-5716-4A50-ABEF-C45BA0AC1574}" type="datetime'''M''ax ri''ca''''v''i ''/ pax (p''rop''osta'' ''annuale)'''">
              <a:rPr lang="it-IT" altLang="en-US" sz="1100" b="0" smtClean="0">
                <a:solidFill>
                  <a:srgbClr val="000000"/>
                </a:solidFill>
                <a:latin typeface="+mn-lt"/>
                <a:sym typeface="+mn-lt"/>
              </a:rPr>
              <a:pPr/>
              <a:t>Max ricavi / pax (proposta annuale)</a:t>
            </a:fld>
            <a:endParaRPr lang="it-IT" altLang="it-IT" sz="1100" b="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xmlns="" id="{8D8F1E5C-6A66-4EB2-A5A9-3C7534B993A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629400" y="2382838"/>
            <a:ext cx="25273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ct val="93000"/>
              </a:lnSpc>
              <a:spcBef>
                <a:spcPts val="25"/>
              </a:spcBef>
              <a:buFont typeface="Arial" pitchFamily="34" charset="0"/>
              <a:defRPr sz="17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3000"/>
              </a:lnSpc>
              <a:spcBef>
                <a:spcPts val="38"/>
              </a:spcBef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3000"/>
              </a:lnSpc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ct val="93000"/>
              </a:lnSpc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6B84275-B4A9-41C7-8AD7-3D3BAAF66514}" type="datetime'Max'' ricavi ''/ p''''a''x'' (proposta annual''''''e) reale'''">
              <a:rPr lang="it-IT" altLang="en-US" sz="1100" b="0" smtClean="0">
                <a:solidFill>
                  <a:srgbClr val="000000"/>
                </a:solidFill>
              </a:rPr>
              <a:pPr/>
              <a:t>Max ricavi / pax (proposta annuale) reale</a:t>
            </a:fld>
            <a:endParaRPr lang="it-IT" altLang="it-IT" sz="1100" b="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graphicFrame>
        <p:nvGraphicFramePr>
          <p:cNvPr id="24" name="Tabella 24">
            <a:extLst>
              <a:ext uri="{FF2B5EF4-FFF2-40B4-BE49-F238E27FC236}">
                <a16:creationId xmlns:a16="http://schemas.microsoft.com/office/drawing/2014/main" xmlns="" id="{4D9C0071-B49F-4BFD-9887-AB9C0B515F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071077"/>
              </p:ext>
            </p:extLst>
          </p:nvPr>
        </p:nvGraphicFramePr>
        <p:xfrm>
          <a:off x="1316478" y="4827505"/>
          <a:ext cx="2958660" cy="82391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038277">
                  <a:extLst>
                    <a:ext uri="{9D8B030D-6E8A-4147-A177-3AD203B41FA5}">
                      <a16:colId xmlns:a16="http://schemas.microsoft.com/office/drawing/2014/main" xmlns="" val="1654111799"/>
                    </a:ext>
                  </a:extLst>
                </a:gridCol>
                <a:gridCol w="920383">
                  <a:extLst>
                    <a:ext uri="{9D8B030D-6E8A-4147-A177-3AD203B41FA5}">
                      <a16:colId xmlns:a16="http://schemas.microsoft.com/office/drawing/2014/main" xmlns="" val="321289087"/>
                    </a:ext>
                  </a:extLst>
                </a:gridCol>
              </a:tblGrid>
              <a:tr h="274638">
                <a:tc>
                  <a:txBody>
                    <a:bodyPr/>
                    <a:lstStyle/>
                    <a:p>
                      <a:r>
                        <a:rPr lang="it-IT" sz="1200" dirty="0"/>
                        <a:t>CAGR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/>
                        <a:t>2016-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38893330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r>
                        <a:rPr lang="it-IT" sz="1200" b="1" dirty="0"/>
                        <a:t>Max ricavi / pax nomin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-2,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83583009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dirty="0"/>
                        <a:t>Max ricavi / pax re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-3,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47534505"/>
                  </a:ext>
                </a:extLst>
              </a:tr>
            </a:tbl>
          </a:graphicData>
        </a:graphic>
      </p:graphicFrame>
      <p:grpSp>
        <p:nvGrpSpPr>
          <p:cNvPr id="95" name="Gruppo 36">
            <a:extLst>
              <a:ext uri="{FF2B5EF4-FFF2-40B4-BE49-F238E27FC236}">
                <a16:creationId xmlns:a16="http://schemas.microsoft.com/office/drawing/2014/main" xmlns="" id="{23F3FFAC-552E-4B40-AEE9-B2D109ED280A}"/>
              </a:ext>
            </a:extLst>
          </p:cNvPr>
          <p:cNvGrpSpPr>
            <a:grpSpLocks/>
          </p:cNvGrpSpPr>
          <p:nvPr/>
        </p:nvGrpSpPr>
        <p:grpSpPr bwMode="auto">
          <a:xfrm>
            <a:off x="517526" y="1265530"/>
            <a:ext cx="8770854" cy="355600"/>
            <a:chOff x="6254750" y="1385216"/>
            <a:chExt cx="2947988" cy="356100"/>
          </a:xfrm>
        </p:grpSpPr>
        <p:sp>
          <p:nvSpPr>
            <p:cNvPr id="96" name="Line 3">
              <a:extLst>
                <a:ext uri="{FF2B5EF4-FFF2-40B4-BE49-F238E27FC236}">
                  <a16:creationId xmlns:a16="http://schemas.microsoft.com/office/drawing/2014/main" xmlns="" id="{2E7B3E95-59BB-4EAB-AC5B-1532B9CE94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54750" y="1741316"/>
              <a:ext cx="2947988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2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7" name="Text12">
              <a:extLst>
                <a:ext uri="{FF2B5EF4-FFF2-40B4-BE49-F238E27FC236}">
                  <a16:creationId xmlns:a16="http://schemas.microsoft.com/office/drawing/2014/main" xmlns="" id="{7AEA69B4-79B5-4D0A-B473-33F839A915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4750" y="1385216"/>
              <a:ext cx="2947988" cy="2628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/>
            <a:lstStyle>
              <a:lvl1pPr eaLnBrk="0" hangingPunct="0">
                <a:lnSpc>
                  <a:spcPct val="93000"/>
                </a:lnSpc>
                <a:spcBef>
                  <a:spcPts val="25"/>
                </a:spcBef>
                <a:buFont typeface="Arial" pitchFamily="34" charset="0"/>
                <a:defRPr sz="17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ct val="93000"/>
                </a:lnSpc>
                <a:spcBef>
                  <a:spcPts val="1200"/>
                </a:spcBef>
                <a:buFont typeface="Arial" pitchFamily="34" charset="0"/>
                <a:buChar char="•"/>
                <a:defRPr sz="17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ct val="93000"/>
                </a:lnSpc>
                <a:spcBef>
                  <a:spcPts val="38"/>
                </a:spcBef>
                <a:buFont typeface="Arial" pitchFamily="34" charset="0"/>
                <a:buChar char="–"/>
                <a:defRPr sz="17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ct val="93000"/>
                </a:lnSpc>
                <a:buFont typeface="Arial" pitchFamily="34" charset="0"/>
                <a:buChar char="-"/>
                <a:defRPr sz="17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ct val="93000"/>
                </a:lnSpc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it-IT" altLang="it-IT" sz="1600" dirty="0">
                  <a:solidFill>
                    <a:srgbClr val="000000"/>
                  </a:solidFill>
                  <a:latin typeface="Arial"/>
                  <a:cs typeface="Arial" charset="0"/>
                </a:rPr>
                <a:t>Tariffa media FCO (€/pax pagante)</a:t>
              </a:r>
            </a:p>
          </p:txBody>
        </p:sp>
      </p:grpSp>
      <p:sp>
        <p:nvSpPr>
          <p:cNvPr id="5" name="Rettangolo 4">
            <a:extLst>
              <a:ext uri="{FF2B5EF4-FFF2-40B4-BE49-F238E27FC236}">
                <a16:creationId xmlns:a16="http://schemas.microsoft.com/office/drawing/2014/main" xmlns="" id="{908C2ADE-B7B0-44A5-94CB-2ECD0D80B18C}"/>
              </a:ext>
            </a:extLst>
          </p:cNvPr>
          <p:cNvSpPr/>
          <p:nvPr/>
        </p:nvSpPr>
        <p:spPr>
          <a:xfrm>
            <a:off x="6683719" y="4139406"/>
            <a:ext cx="718675" cy="92233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6" name="Callout: linea piegata 5">
            <a:extLst>
              <a:ext uri="{FF2B5EF4-FFF2-40B4-BE49-F238E27FC236}">
                <a16:creationId xmlns:a16="http://schemas.microsoft.com/office/drawing/2014/main" xmlns="" id="{8D7E2D34-9861-4C74-BBB5-B9D5CB140403}"/>
              </a:ext>
            </a:extLst>
          </p:cNvPr>
          <p:cNvSpPr/>
          <p:nvPr/>
        </p:nvSpPr>
        <p:spPr>
          <a:xfrm>
            <a:off x="7746887" y="3654701"/>
            <a:ext cx="1975075" cy="1164753"/>
          </a:xfrm>
          <a:prstGeom prst="borderCallout2">
            <a:avLst>
              <a:gd name="adj1" fmla="val 72956"/>
              <a:gd name="adj2" fmla="val -1033"/>
              <a:gd name="adj3" fmla="val 97472"/>
              <a:gd name="adj4" fmla="val -10783"/>
              <a:gd name="adj5" fmla="val 87862"/>
              <a:gd name="adj6" fmla="val -175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b="1" dirty="0" smtClean="0">
                <a:solidFill>
                  <a:schemeClr val="tx1"/>
                </a:solidFill>
              </a:rPr>
              <a:t>2021</a:t>
            </a:r>
            <a:r>
              <a:rPr lang="it-IT" sz="1200" b="1" baseline="30000" dirty="0" smtClean="0">
                <a:solidFill>
                  <a:schemeClr val="tx1"/>
                </a:solidFill>
              </a:rPr>
              <a:t>(*)</a:t>
            </a:r>
            <a:r>
              <a:rPr lang="it-IT" sz="1200" b="1" dirty="0" smtClean="0">
                <a:solidFill>
                  <a:schemeClr val="tx1"/>
                </a:solidFill>
              </a:rPr>
              <a:t> </a:t>
            </a:r>
            <a:r>
              <a:rPr lang="it-IT" sz="1200" b="1" dirty="0">
                <a:solidFill>
                  <a:schemeClr val="tx1"/>
                </a:solidFill>
              </a:rPr>
              <a:t>vs 2016 (</a:t>
            </a:r>
            <a:r>
              <a:rPr lang="it-IT" sz="1200" b="1" dirty="0" err="1">
                <a:solidFill>
                  <a:schemeClr val="tx1"/>
                </a:solidFill>
              </a:rPr>
              <a:t>var</a:t>
            </a:r>
            <a:r>
              <a:rPr lang="it-IT" sz="1200" b="1" dirty="0">
                <a:solidFill>
                  <a:schemeClr val="tx1"/>
                </a:solidFill>
              </a:rPr>
              <a:t>. %)</a:t>
            </a:r>
          </a:p>
          <a:p>
            <a:endParaRPr lang="it-IT" sz="1200" b="1" dirty="0">
              <a:solidFill>
                <a:schemeClr val="tx1"/>
              </a:solidFill>
            </a:endParaRPr>
          </a:p>
          <a:p>
            <a:r>
              <a:rPr lang="it-IT" sz="1200" b="1" dirty="0">
                <a:solidFill>
                  <a:schemeClr val="tx1"/>
                </a:solidFill>
              </a:rPr>
              <a:t>Tariffa nominale: -</a:t>
            </a:r>
            <a:r>
              <a:rPr lang="it-IT" sz="1200" b="1" dirty="0" smtClean="0">
                <a:solidFill>
                  <a:schemeClr val="tx1"/>
                </a:solidFill>
              </a:rPr>
              <a:t>12,2%</a:t>
            </a:r>
            <a:endParaRPr lang="it-IT" sz="1200" b="1" dirty="0">
              <a:solidFill>
                <a:schemeClr val="tx1"/>
              </a:solidFill>
            </a:endParaRPr>
          </a:p>
          <a:p>
            <a:r>
              <a:rPr lang="it-IT" sz="1200" b="1" dirty="0">
                <a:solidFill>
                  <a:schemeClr val="tx1"/>
                </a:solidFill>
              </a:rPr>
              <a:t>Tariffa reale: -</a:t>
            </a:r>
            <a:r>
              <a:rPr lang="it-IT" sz="1200" b="1" dirty="0" smtClean="0">
                <a:solidFill>
                  <a:schemeClr val="tx1"/>
                </a:solidFill>
              </a:rPr>
              <a:t>14,6%</a:t>
            </a:r>
            <a:endParaRPr lang="it-IT" sz="1200" b="1" dirty="0">
              <a:solidFill>
                <a:schemeClr val="tx1"/>
              </a:solidFill>
            </a:endParaRPr>
          </a:p>
          <a:p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34" name="CasellaDiTesto 33"/>
          <p:cNvSpPr txBox="1"/>
          <p:nvPr/>
        </p:nvSpPr>
        <p:spPr>
          <a:xfrm>
            <a:off x="232747" y="6349340"/>
            <a:ext cx="9370195" cy="258734"/>
          </a:xfrm>
          <a:prstGeom prst="rect">
            <a:avLst/>
          </a:prstGeom>
          <a:noFill/>
        </p:spPr>
        <p:txBody>
          <a:bodyPr wrap="square" lIns="103834" tIns="51916" rIns="103834" bIns="51916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000" dirty="0">
                <a:solidFill>
                  <a:srgbClr val="000000"/>
                </a:solidFill>
                <a:cs typeface="Arial" charset="0"/>
              </a:rPr>
              <a:t>(*) Per il </a:t>
            </a:r>
            <a:r>
              <a:rPr lang="it-IT" sz="1000" dirty="0" smtClean="0">
                <a:solidFill>
                  <a:srgbClr val="000000"/>
                </a:solidFill>
                <a:cs typeface="Arial" charset="0"/>
              </a:rPr>
              <a:t>2021 </a:t>
            </a:r>
            <a:r>
              <a:rPr lang="it-IT" sz="1000" dirty="0">
                <a:solidFill>
                  <a:srgbClr val="000000"/>
                </a:solidFill>
                <a:cs typeface="Arial" charset="0"/>
              </a:rPr>
              <a:t>considerata </a:t>
            </a:r>
            <a:r>
              <a:rPr lang="it-IT" sz="1000" dirty="0" smtClean="0">
                <a:solidFill>
                  <a:srgbClr val="000000"/>
                </a:solidFill>
                <a:cs typeface="Arial" charset="0"/>
              </a:rPr>
              <a:t>tariffa media inclusiva di ultima modifica al servizio PRM (pubblicata il 9 ottobre)</a:t>
            </a:r>
            <a:endParaRPr lang="it-IT" sz="10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8949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ggetto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796200"/>
              </p:ext>
            </p:extLst>
          </p:nvPr>
        </p:nvGraphicFramePr>
        <p:xfrm>
          <a:off x="1660" y="168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46" name="Diapositiva think-cell" r:id="rId12" imgW="360" imgH="360" progId="TCLayout.ActiveDocument.1">
                  <p:embed/>
                </p:oleObj>
              </mc:Choice>
              <mc:Fallback>
                <p:oleObj name="Diapositiva think-cell" r:id="rId12" imgW="360" imgH="360" progId="TCLayout.ActiveDocument.1">
                  <p:embed/>
                  <p:pic>
                    <p:nvPicPr>
                      <p:cNvPr id="19" name="Oggetto 18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60" y="168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tangolo 9" hidden="1"/>
          <p:cNvSpPr/>
          <p:nvPr>
            <p:custDataLst>
              <p:tags r:id="rId3"/>
            </p:custDataLst>
          </p:nvPr>
        </p:nvSpPr>
        <p:spPr bwMode="auto">
          <a:xfrm>
            <a:off x="3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it-IT" sz="130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asellaDiTesto 2"/>
          <p:cNvSpPr txBox="1"/>
          <p:nvPr/>
        </p:nvSpPr>
        <p:spPr>
          <a:xfrm flipH="1">
            <a:off x="230927" y="6630705"/>
            <a:ext cx="61221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>
                <a:solidFill>
                  <a:srgbClr val="000000"/>
                </a:solidFill>
                <a:cs typeface="Arial" charset="0"/>
              </a:rPr>
              <a:t>Nota: </a:t>
            </a:r>
            <a:r>
              <a:rPr lang="it-IT" sz="900" dirty="0" err="1">
                <a:solidFill>
                  <a:srgbClr val="000000"/>
                </a:solidFill>
                <a:cs typeface="Arial" charset="0"/>
              </a:rPr>
              <a:t>Capex</a:t>
            </a:r>
            <a:r>
              <a:rPr lang="it-IT" sz="900" dirty="0">
                <a:solidFill>
                  <a:srgbClr val="000000"/>
                </a:solidFill>
                <a:cs typeface="Arial" charset="0"/>
              </a:rPr>
              <a:t> ITA GAAP di ADR SPA;  investimenti per iniziative immobiliari non inclusi</a:t>
            </a:r>
          </a:p>
        </p:txBody>
      </p:sp>
      <p:sp>
        <p:nvSpPr>
          <p:cNvPr id="29" name="Titolo 1"/>
          <p:cNvSpPr txBox="1">
            <a:spLocks/>
          </p:cNvSpPr>
          <p:nvPr/>
        </p:nvSpPr>
        <p:spPr bwMode="auto">
          <a:xfrm>
            <a:off x="419753" y="258983"/>
            <a:ext cx="9140205" cy="495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indent="0" eaLnBrk="0" fontAlgn="auto" hangingPunct="0">
              <a:lnSpc>
                <a:spcPct val="93000"/>
              </a:lnSpc>
              <a:spcBef>
                <a:spcPts val="600"/>
              </a:spcBef>
              <a:spcAft>
                <a:spcPts val="0"/>
              </a:spcAft>
              <a:buNone/>
              <a:defRPr sz="2000" b="1">
                <a:latin typeface="+mj-lt"/>
                <a:ea typeface="+mj-ea"/>
                <a:cs typeface="Arial" pitchFamily="34" charset="0"/>
              </a:defRPr>
            </a:lvl1pPr>
            <a:lvl2pPr eaLnBrk="0" hangingPunct="0">
              <a:lnSpc>
                <a:spcPct val="93000"/>
              </a:lnSpc>
              <a:defRPr sz="2100" b="1">
                <a:latin typeface="Arial" pitchFamily="34" charset="0"/>
              </a:defRPr>
            </a:lvl2pPr>
            <a:lvl3pPr eaLnBrk="0" hangingPunct="0">
              <a:lnSpc>
                <a:spcPct val="93000"/>
              </a:lnSpc>
              <a:defRPr sz="2100" b="1">
                <a:latin typeface="Arial" pitchFamily="34" charset="0"/>
              </a:defRPr>
            </a:lvl3pPr>
            <a:lvl4pPr eaLnBrk="0" hangingPunct="0">
              <a:lnSpc>
                <a:spcPct val="93000"/>
              </a:lnSpc>
              <a:defRPr sz="2100" b="1">
                <a:latin typeface="Arial" pitchFamily="34" charset="0"/>
              </a:defRPr>
            </a:lvl4pPr>
            <a:lvl5pPr eaLnBrk="0" hangingPunct="0">
              <a:lnSpc>
                <a:spcPct val="93000"/>
              </a:lnSpc>
              <a:defRPr sz="2100" b="1">
                <a:latin typeface="Arial" pitchFamily="34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latin typeface="Arial" pitchFamily="34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latin typeface="Arial" pitchFamily="34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latin typeface="Arial" pitchFamily="34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latin typeface="Arial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it-IT" altLang="it-IT" sz="2400" dirty="0">
                <a:solidFill>
                  <a:srgbClr val="000000"/>
                </a:solidFill>
              </a:rPr>
              <a:t>…nonostante gli importanti investimenti </a:t>
            </a:r>
            <a:r>
              <a:rPr lang="it-IT" altLang="it-IT" sz="2400" dirty="0" smtClean="0">
                <a:solidFill>
                  <a:srgbClr val="000000"/>
                </a:solidFill>
              </a:rPr>
              <a:t>nel periodo</a:t>
            </a:r>
            <a:endParaRPr lang="it-IT" altLang="it-IT" sz="2400" dirty="0">
              <a:solidFill>
                <a:srgbClr val="000000"/>
              </a:solidFill>
            </a:endParaRPr>
          </a:p>
        </p:txBody>
      </p:sp>
      <p:grpSp>
        <p:nvGrpSpPr>
          <p:cNvPr id="109" name="Gruppo 36"/>
          <p:cNvGrpSpPr>
            <a:grpSpLocks/>
          </p:cNvGrpSpPr>
          <p:nvPr/>
        </p:nvGrpSpPr>
        <p:grpSpPr bwMode="auto">
          <a:xfrm>
            <a:off x="517526" y="1265530"/>
            <a:ext cx="8770854" cy="355600"/>
            <a:chOff x="6254750" y="1385216"/>
            <a:chExt cx="2947988" cy="356100"/>
          </a:xfrm>
        </p:grpSpPr>
        <p:sp>
          <p:nvSpPr>
            <p:cNvPr id="112" name="Line 3"/>
            <p:cNvSpPr>
              <a:spLocks noChangeShapeType="1"/>
            </p:cNvSpPr>
            <p:nvPr/>
          </p:nvSpPr>
          <p:spPr bwMode="auto">
            <a:xfrm>
              <a:off x="6254750" y="1741316"/>
              <a:ext cx="2947988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2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3" name="Text12"/>
            <p:cNvSpPr>
              <a:spLocks noChangeArrowheads="1"/>
            </p:cNvSpPr>
            <p:nvPr/>
          </p:nvSpPr>
          <p:spPr bwMode="auto">
            <a:xfrm>
              <a:off x="6254750" y="1385216"/>
              <a:ext cx="2947988" cy="2628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/>
            <a:lstStyle>
              <a:lvl1pPr eaLnBrk="0" hangingPunct="0">
                <a:lnSpc>
                  <a:spcPct val="93000"/>
                </a:lnSpc>
                <a:spcBef>
                  <a:spcPts val="25"/>
                </a:spcBef>
                <a:buFont typeface="Arial" pitchFamily="34" charset="0"/>
                <a:defRPr sz="17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ct val="93000"/>
                </a:lnSpc>
                <a:spcBef>
                  <a:spcPts val="1200"/>
                </a:spcBef>
                <a:buFont typeface="Arial" pitchFamily="34" charset="0"/>
                <a:buChar char="•"/>
                <a:defRPr sz="17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ct val="93000"/>
                </a:lnSpc>
                <a:spcBef>
                  <a:spcPts val="38"/>
                </a:spcBef>
                <a:buFont typeface="Arial" pitchFamily="34" charset="0"/>
                <a:buChar char="–"/>
                <a:defRPr sz="17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ct val="93000"/>
                </a:lnSpc>
                <a:buFont typeface="Arial" pitchFamily="34" charset="0"/>
                <a:buChar char="-"/>
                <a:defRPr sz="17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ct val="93000"/>
                </a:lnSpc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it-IT" altLang="it-IT" sz="1600" dirty="0">
                  <a:solidFill>
                    <a:srgbClr val="000000"/>
                  </a:solidFill>
                  <a:latin typeface="Arial"/>
                  <a:cs typeface="Arial" charset="0"/>
                </a:rPr>
                <a:t>Investimenti </a:t>
              </a:r>
              <a:r>
                <a:rPr lang="it-IT" altLang="it-IT" sz="1600" dirty="0" smtClean="0">
                  <a:solidFill>
                    <a:srgbClr val="000000"/>
                  </a:solidFill>
                  <a:cs typeface="Arial" charset="0"/>
                </a:rPr>
                <a:t>2016-2020</a:t>
              </a:r>
              <a:r>
                <a:rPr lang="it-IT" altLang="it-IT" sz="1600" b="0" baseline="300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(*)</a:t>
              </a:r>
              <a:r>
                <a:rPr lang="it-IT" altLang="it-IT" sz="1600" dirty="0" smtClean="0">
                  <a:solidFill>
                    <a:srgbClr val="000000"/>
                  </a:solidFill>
                  <a:cs typeface="Arial" charset="0"/>
                </a:rPr>
                <a:t> </a:t>
              </a:r>
              <a:r>
                <a:rPr lang="it-IT" altLang="it-IT" sz="1600" dirty="0">
                  <a:solidFill>
                    <a:srgbClr val="000000"/>
                  </a:solidFill>
                  <a:cs typeface="Arial" charset="0"/>
                </a:rPr>
                <a:t>a </a:t>
              </a:r>
              <a:r>
                <a:rPr lang="it-IT" altLang="it-IT" sz="16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FCO </a:t>
              </a:r>
              <a:r>
                <a:rPr lang="it-IT" altLang="it-IT" sz="1600" dirty="0">
                  <a:solidFill>
                    <a:srgbClr val="000000"/>
                  </a:solidFill>
                  <a:latin typeface="Arial"/>
                  <a:cs typeface="Arial" charset="0"/>
                </a:rPr>
                <a:t>e </a:t>
              </a:r>
              <a:r>
                <a:rPr lang="it-IT" altLang="it-IT" sz="16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CIA (€ mln)</a:t>
              </a:r>
              <a:endParaRPr lang="it-IT" altLang="it-IT" sz="16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aphicFrame>
        <p:nvGraphicFramePr>
          <p:cNvPr id="99" name="Chart 3">
            <a:extLst>
              <a:ext uri="{FF2B5EF4-FFF2-40B4-BE49-F238E27FC236}">
                <a16:creationId xmlns:a16="http://schemas.microsoft.com/office/drawing/2014/main" xmlns="" id="{7B8D179D-E380-45F2-8A1D-92781565CC0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36748353"/>
              </p:ext>
            </p:extLst>
          </p:nvPr>
        </p:nvGraphicFramePr>
        <p:xfrm>
          <a:off x="912813" y="2725738"/>
          <a:ext cx="7943850" cy="222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xmlns="" id="{40A94B3A-D602-4917-ADA3-68F55536A8B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68450" y="4924425"/>
            <a:ext cx="4064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0" fontAlgn="base" hangingPunct="0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0" fontAlgn="base" hangingPunct="0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D4A62E70-4201-4346-98AF-7AC63CD3DB89}" type="datetime'''''''''2''''''''''''''''''''''''''0''''''''''''''1''6'''''">
              <a:rPr lang="it-IT" altLang="en-US" sz="1400" b="0" smtClean="0">
                <a:solidFill>
                  <a:srgbClr val="000000"/>
                </a:solidFill>
              </a:rPr>
              <a:pPr/>
              <a:t>2016</a:t>
            </a:fld>
            <a:endParaRPr lang="it-IT" sz="1400" b="0" dirty="0">
              <a:solidFill>
                <a:srgbClr val="000000"/>
              </a:solidFill>
              <a:sym typeface="+mj-lt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24200" y="4924425"/>
            <a:ext cx="4064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0" fontAlgn="base" hangingPunct="0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0" fontAlgn="base" hangingPunct="0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CE7A9155-A553-4A43-BC80-E836FA921604}" type="datetime'2''''''''''''''''''''''''''''''''''''0''1''''''''''7'''''''''">
              <a:rPr lang="it-IT" altLang="en-US" sz="1400" b="0" smtClean="0">
                <a:solidFill>
                  <a:srgbClr val="000000"/>
                </a:solidFill>
              </a:rPr>
              <a:pPr/>
              <a:t>2017</a:t>
            </a:fld>
            <a:endParaRPr lang="it-IT" sz="1400" b="0" dirty="0">
              <a:solidFill>
                <a:srgbClr val="000000"/>
              </a:solidFill>
              <a:sym typeface="+mj-lt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679950" y="4924425"/>
            <a:ext cx="4064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0" fontAlgn="base" hangingPunct="0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0" fontAlgn="base" hangingPunct="0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C92698A0-28EE-42BE-A200-6E77D79EE120}" type="datetime'''''''2''''''''''01''''''''''''''''''''''''''''''8'">
              <a:rPr lang="it-IT" altLang="en-US" sz="1400" b="0" smtClean="0">
                <a:solidFill>
                  <a:srgbClr val="000000"/>
                </a:solidFill>
              </a:rPr>
              <a:pPr/>
              <a:t>2018</a:t>
            </a:fld>
            <a:endParaRPr lang="it-IT" sz="1400" b="0" dirty="0">
              <a:solidFill>
                <a:srgbClr val="000000"/>
              </a:solidFill>
              <a:sym typeface="+mj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235700" y="4924425"/>
            <a:ext cx="4064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0" fontAlgn="base" hangingPunct="0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0" fontAlgn="base" hangingPunct="0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32FB4227-1FFE-4D4B-A179-E319588133E1}" type="datetime'2''01''''''''''''''''''''''''''''''''''''''''''''''''9'''''">
              <a:rPr lang="it-IT" altLang="en-US" sz="1400" b="0" smtClean="0">
                <a:solidFill>
                  <a:srgbClr val="000000"/>
                </a:solidFill>
              </a:rPr>
              <a:pPr/>
              <a:t>2019</a:t>
            </a:fld>
            <a:endParaRPr lang="it-IT" sz="1400" b="0" dirty="0">
              <a:solidFill>
                <a:srgbClr val="000000"/>
              </a:solidFill>
              <a:sym typeface="+mj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791450" y="4924425"/>
            <a:ext cx="4064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0" fontAlgn="base" hangingPunct="0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0" fontAlgn="base" hangingPunct="0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</a:pPr>
            <a:fld id="{75D15C9E-0EA4-4F01-84DF-42A794669607}" type="datetime'''''''2''''''''''''''''''''''''''0''''''20'''''''''''''">
              <a:rPr lang="it-IT" altLang="en-US" sz="1400" b="0" smtClean="0">
                <a:solidFill>
                  <a:srgbClr val="000000"/>
                </a:solidFill>
              </a:rPr>
              <a:pPr/>
              <a:t>2020</a:t>
            </a:fld>
            <a:endParaRPr lang="it-IT" sz="1400" b="0" dirty="0">
              <a:solidFill>
                <a:srgbClr val="000000"/>
              </a:solidFill>
              <a:sym typeface="+mj-lt"/>
            </a:endParaRPr>
          </a:p>
        </p:txBody>
      </p:sp>
      <p:sp>
        <p:nvSpPr>
          <p:cNvPr id="158" name="CasellaDiTesto 157"/>
          <p:cNvSpPr txBox="1"/>
          <p:nvPr/>
        </p:nvSpPr>
        <p:spPr>
          <a:xfrm>
            <a:off x="232747" y="6335692"/>
            <a:ext cx="9370195" cy="258734"/>
          </a:xfrm>
          <a:prstGeom prst="rect">
            <a:avLst/>
          </a:prstGeom>
          <a:noFill/>
        </p:spPr>
        <p:txBody>
          <a:bodyPr wrap="square" lIns="103834" tIns="51916" rIns="103834" bIns="51916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000" dirty="0">
                <a:solidFill>
                  <a:srgbClr val="000000"/>
                </a:solidFill>
                <a:cs typeface="Arial" charset="0"/>
              </a:rPr>
              <a:t>(*) Per il 2020 considerata stima a finire</a:t>
            </a:r>
          </a:p>
        </p:txBody>
      </p:sp>
      <p:sp>
        <p:nvSpPr>
          <p:cNvPr id="50" name="CasellaDiTesto 43">
            <a:extLst>
              <a:ext uri="{FF2B5EF4-FFF2-40B4-BE49-F238E27FC236}">
                <a16:creationId xmlns:a16="http://schemas.microsoft.com/office/drawing/2014/main" xmlns="" id="{5B81BA52-4D7D-4926-825E-AE9342572C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8732" y="1904671"/>
            <a:ext cx="2074025" cy="9123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103834" tIns="51916" rIns="103834" bIns="51916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itchFamily="34" charset="0"/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rtl="0" eaLnBrk="0" fontAlgn="base" hangingPunct="0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481013" indent="-233363" algn="l" rtl="0" eaLnBrk="0" fontAlgn="base" hangingPunct="0">
              <a:lnSpc>
                <a:spcPct val="93000"/>
              </a:lnSpc>
              <a:spcBef>
                <a:spcPts val="38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96913" indent="-200025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5pPr>
            <a:lvl6pPr marL="11541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6pPr>
            <a:lvl7pPr marL="16113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7pPr>
            <a:lvl8pPr marL="20685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8pPr>
            <a:lvl9pPr marL="25257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it-IT" altLang="it-IT" sz="1500" kern="0" dirty="0">
                <a:solidFill>
                  <a:srgbClr val="000000"/>
                </a:solidFill>
                <a:cs typeface="Arial" pitchFamily="34" charset="0"/>
              </a:rPr>
              <a:t>Tot. 2016-20</a:t>
            </a:r>
          </a:p>
          <a:p>
            <a:pPr marL="0" indent="0"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it-IT" altLang="it-IT" sz="1500" kern="0" dirty="0">
                <a:solidFill>
                  <a:srgbClr val="000000"/>
                </a:solidFill>
                <a:cs typeface="Arial" pitchFamily="34" charset="0"/>
              </a:rPr>
              <a:t>c. 1.120 € mln</a:t>
            </a:r>
          </a:p>
        </p:txBody>
      </p:sp>
    </p:spTree>
    <p:extLst>
      <p:ext uri="{BB962C8B-B14F-4D97-AF65-F5344CB8AC3E}">
        <p14:creationId xmlns:p14="http://schemas.microsoft.com/office/powerpoint/2010/main" val="728235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ggetto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620809"/>
              </p:ext>
            </p:extLst>
          </p:nvPr>
        </p:nvGraphicFramePr>
        <p:xfrm>
          <a:off x="1660" y="168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70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19" name="Oggetto 1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60" y="168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tangolo 9" hidden="1"/>
          <p:cNvSpPr/>
          <p:nvPr>
            <p:custDataLst>
              <p:tags r:id="rId3"/>
            </p:custDataLst>
          </p:nvPr>
        </p:nvSpPr>
        <p:spPr bwMode="auto">
          <a:xfrm>
            <a:off x="3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it-IT" sz="13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29" name="Titolo 1"/>
          <p:cNvSpPr txBox="1">
            <a:spLocks/>
          </p:cNvSpPr>
          <p:nvPr/>
        </p:nvSpPr>
        <p:spPr bwMode="auto">
          <a:xfrm>
            <a:off x="372698" y="221024"/>
            <a:ext cx="8944724" cy="495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indent="0" eaLnBrk="0" fontAlgn="auto" hangingPunct="0">
              <a:lnSpc>
                <a:spcPct val="93000"/>
              </a:lnSpc>
              <a:spcBef>
                <a:spcPts val="600"/>
              </a:spcBef>
              <a:spcAft>
                <a:spcPts val="0"/>
              </a:spcAft>
              <a:buNone/>
              <a:defRPr sz="2000" b="1">
                <a:latin typeface="+mj-lt"/>
                <a:ea typeface="+mj-ea"/>
                <a:cs typeface="Arial" pitchFamily="34" charset="0"/>
              </a:defRPr>
            </a:lvl1pPr>
            <a:lvl2pPr eaLnBrk="0" hangingPunct="0">
              <a:lnSpc>
                <a:spcPct val="93000"/>
              </a:lnSpc>
              <a:defRPr sz="2100" b="1">
                <a:latin typeface="Arial" pitchFamily="34" charset="0"/>
              </a:defRPr>
            </a:lvl2pPr>
            <a:lvl3pPr eaLnBrk="0" hangingPunct="0">
              <a:lnSpc>
                <a:spcPct val="93000"/>
              </a:lnSpc>
              <a:defRPr sz="2100" b="1">
                <a:latin typeface="Arial" pitchFamily="34" charset="0"/>
              </a:defRPr>
            </a:lvl3pPr>
            <a:lvl4pPr eaLnBrk="0" hangingPunct="0">
              <a:lnSpc>
                <a:spcPct val="93000"/>
              </a:lnSpc>
              <a:defRPr sz="2100" b="1">
                <a:latin typeface="Arial" pitchFamily="34" charset="0"/>
              </a:defRPr>
            </a:lvl4pPr>
            <a:lvl5pPr eaLnBrk="0" hangingPunct="0">
              <a:lnSpc>
                <a:spcPct val="93000"/>
              </a:lnSpc>
              <a:defRPr sz="2100" b="1">
                <a:latin typeface="Arial" pitchFamily="34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latin typeface="Arial" pitchFamily="34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latin typeface="Arial" pitchFamily="34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latin typeface="Arial" pitchFamily="34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latin typeface="Arial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it-IT" altLang="it-IT" sz="2400" dirty="0">
                <a:solidFill>
                  <a:srgbClr val="000000"/>
                </a:solidFill>
              </a:rPr>
              <a:t>Attività previste per avvio del prossimo decennio </a:t>
            </a:r>
            <a:r>
              <a:rPr lang="it-IT" altLang="it-IT" sz="2400" dirty="0" err="1">
                <a:solidFill>
                  <a:srgbClr val="000000"/>
                </a:solidFill>
              </a:rPr>
              <a:t>regolatorio</a:t>
            </a:r>
            <a:r>
              <a:rPr lang="it-IT" altLang="it-IT" sz="2400" dirty="0">
                <a:solidFill>
                  <a:srgbClr val="000000"/>
                </a:solidFill>
              </a:rPr>
              <a:t> 2022-2031</a:t>
            </a:r>
          </a:p>
        </p:txBody>
      </p:sp>
      <p:sp>
        <p:nvSpPr>
          <p:cNvPr id="43" name="Pentagono 102">
            <a:extLst>
              <a:ext uri="{FF2B5EF4-FFF2-40B4-BE49-F238E27FC236}">
                <a16:creationId xmlns:a16="http://schemas.microsoft.com/office/drawing/2014/main" xmlns="" id="{C8DEF27B-D6C0-4D3F-BFDB-5B5CF7B3F3E6}"/>
              </a:ext>
            </a:extLst>
          </p:cNvPr>
          <p:cNvSpPr/>
          <p:nvPr/>
        </p:nvSpPr>
        <p:spPr>
          <a:xfrm>
            <a:off x="438070" y="2886581"/>
            <a:ext cx="1288951" cy="1290688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36000" rtlCol="0" anchor="ctr" anchorCtr="0"/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ADR</a:t>
            </a:r>
          </a:p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Condivisione e trasmissione PSA a ENAC</a:t>
            </a:r>
          </a:p>
        </p:txBody>
      </p:sp>
      <p:sp>
        <p:nvSpPr>
          <p:cNvPr id="45" name="Freccia a destra rientrata 110">
            <a:extLst>
              <a:ext uri="{FF2B5EF4-FFF2-40B4-BE49-F238E27FC236}">
                <a16:creationId xmlns:a16="http://schemas.microsoft.com/office/drawing/2014/main" xmlns="" id="{4DDD9768-AE5A-4E97-B7D0-8DAD6B1EED36}"/>
              </a:ext>
            </a:extLst>
          </p:cNvPr>
          <p:cNvSpPr/>
          <p:nvPr/>
        </p:nvSpPr>
        <p:spPr>
          <a:xfrm>
            <a:off x="1076305" y="2886581"/>
            <a:ext cx="2175842" cy="1290688"/>
          </a:xfrm>
          <a:prstGeom prst="notchedRightArrow">
            <a:avLst>
              <a:gd name="adj1" fmla="val 100000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30668" bIns="30668" rtlCol="0" anchor="ctr" anchorCtr="0"/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ENAC</a:t>
            </a:r>
          </a:p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Valutazione e approvazione PSA</a:t>
            </a:r>
          </a:p>
        </p:txBody>
      </p:sp>
      <p:sp>
        <p:nvSpPr>
          <p:cNvPr id="46" name="Freccia a destra rientrata 111">
            <a:extLst>
              <a:ext uri="{FF2B5EF4-FFF2-40B4-BE49-F238E27FC236}">
                <a16:creationId xmlns:a16="http://schemas.microsoft.com/office/drawing/2014/main" xmlns="" id="{44CE0CE5-04F2-4AF5-BADC-B720B260BC77}"/>
              </a:ext>
            </a:extLst>
          </p:cNvPr>
          <p:cNvSpPr/>
          <p:nvPr/>
        </p:nvSpPr>
        <p:spPr>
          <a:xfrm>
            <a:off x="2328940" y="2886581"/>
            <a:ext cx="2293828" cy="1290688"/>
          </a:xfrm>
          <a:prstGeom prst="notchedRightArrow">
            <a:avLst>
              <a:gd name="adj1" fmla="val 100000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30668" bIns="30668" rtlCol="0" anchor="ctr" anchorCtr="0"/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ADR</a:t>
            </a:r>
          </a:p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Predisposizione e trasmissione aggiornamento  DTP</a:t>
            </a:r>
            <a:r>
              <a:rPr lang="it-IT" sz="1000" b="1" baseline="30000" dirty="0">
                <a:solidFill>
                  <a:srgbClr val="000000"/>
                </a:solidFill>
                <a:cs typeface="Arial" pitchFamily="34" charset="0"/>
              </a:rPr>
              <a:t>(*)</a:t>
            </a: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 coerente con PSA</a:t>
            </a:r>
          </a:p>
        </p:txBody>
      </p:sp>
      <p:sp>
        <p:nvSpPr>
          <p:cNvPr id="47" name="Freccia a destra rientrata 113">
            <a:extLst>
              <a:ext uri="{FF2B5EF4-FFF2-40B4-BE49-F238E27FC236}">
                <a16:creationId xmlns:a16="http://schemas.microsoft.com/office/drawing/2014/main" xmlns="" id="{76792633-C663-436E-AC5E-D8BEC0726919}"/>
              </a:ext>
            </a:extLst>
          </p:cNvPr>
          <p:cNvSpPr/>
          <p:nvPr/>
        </p:nvSpPr>
        <p:spPr>
          <a:xfrm>
            <a:off x="3658065" y="2886581"/>
            <a:ext cx="2139414" cy="1290688"/>
          </a:xfrm>
          <a:prstGeom prst="notchedRightArrow">
            <a:avLst>
              <a:gd name="adj1" fmla="val 100000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ENAC</a:t>
            </a:r>
          </a:p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Approvazione DTP</a:t>
            </a:r>
            <a:r>
              <a:rPr lang="it-IT" sz="1000" b="1" baseline="30000" dirty="0">
                <a:solidFill>
                  <a:srgbClr val="000000"/>
                </a:solidFill>
                <a:cs typeface="Arial" pitchFamily="34" charset="0"/>
              </a:rPr>
              <a:t>(*)</a:t>
            </a: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 per nuovo periodo </a:t>
            </a:r>
            <a:r>
              <a:rPr lang="it-IT" sz="1000" b="1" dirty="0" err="1">
                <a:solidFill>
                  <a:srgbClr val="000000"/>
                </a:solidFill>
                <a:cs typeface="Arial" pitchFamily="34" charset="0"/>
              </a:rPr>
              <a:t>regolatorio</a:t>
            </a:r>
            <a:endParaRPr lang="it-IT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xmlns="" id="{58CBC05A-BBC7-4BC6-805E-0BD718E3E775}"/>
              </a:ext>
            </a:extLst>
          </p:cNvPr>
          <p:cNvSpPr/>
          <p:nvPr/>
        </p:nvSpPr>
        <p:spPr>
          <a:xfrm>
            <a:off x="505020" y="2214975"/>
            <a:ext cx="738434" cy="462045"/>
          </a:xfrm>
          <a:prstGeom prst="rect">
            <a:avLst/>
          </a:prstGeom>
        </p:spPr>
        <p:txBody>
          <a:bodyPr wrap="square" lIns="30668" tIns="30668" rIns="30668" bIns="30668">
            <a:spAutoFit/>
          </a:bodyPr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300" b="1" i="1" dirty="0">
                <a:solidFill>
                  <a:srgbClr val="000000"/>
                </a:solidFill>
                <a:latin typeface="Arial"/>
              </a:rPr>
              <a:t>Entro </a:t>
            </a:r>
            <a:r>
              <a:rPr lang="it-IT" sz="1300" b="1" i="1" dirty="0" err="1">
                <a:solidFill>
                  <a:srgbClr val="000000"/>
                </a:solidFill>
                <a:latin typeface="Arial"/>
              </a:rPr>
              <a:t>dic</a:t>
            </a:r>
            <a:r>
              <a:rPr lang="it-IT" sz="1300" b="1" i="1" dirty="0">
                <a:solidFill>
                  <a:srgbClr val="000000"/>
                </a:solidFill>
                <a:latin typeface="Arial"/>
              </a:rPr>
              <a:t> 2020</a:t>
            </a:r>
          </a:p>
        </p:txBody>
      </p:sp>
      <p:sp>
        <p:nvSpPr>
          <p:cNvPr id="49" name="Rettangolo 48">
            <a:extLst>
              <a:ext uri="{FF2B5EF4-FFF2-40B4-BE49-F238E27FC236}">
                <a16:creationId xmlns:a16="http://schemas.microsoft.com/office/drawing/2014/main" xmlns="" id="{48DBE993-7B4F-445B-B5A9-85A227F20BCC}"/>
              </a:ext>
            </a:extLst>
          </p:cNvPr>
          <p:cNvSpPr/>
          <p:nvPr/>
        </p:nvSpPr>
        <p:spPr>
          <a:xfrm>
            <a:off x="1633071" y="2214975"/>
            <a:ext cx="712002" cy="462045"/>
          </a:xfrm>
          <a:prstGeom prst="rect">
            <a:avLst/>
          </a:prstGeom>
        </p:spPr>
        <p:txBody>
          <a:bodyPr wrap="square" lIns="30668" tIns="30668" rIns="30668" bIns="30668">
            <a:spAutoFit/>
          </a:bodyPr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300" b="1" i="1" dirty="0">
                <a:solidFill>
                  <a:srgbClr val="000000"/>
                </a:solidFill>
                <a:latin typeface="Arial"/>
              </a:rPr>
              <a:t>Entro 180 gg</a:t>
            </a:r>
          </a:p>
        </p:txBody>
      </p:sp>
      <p:sp>
        <p:nvSpPr>
          <p:cNvPr id="50" name="Rettangolo 49">
            <a:extLst>
              <a:ext uri="{FF2B5EF4-FFF2-40B4-BE49-F238E27FC236}">
                <a16:creationId xmlns:a16="http://schemas.microsoft.com/office/drawing/2014/main" xmlns="" id="{FA25061B-5340-4C3F-84EA-D7E882CE8E35}"/>
              </a:ext>
            </a:extLst>
          </p:cNvPr>
          <p:cNvSpPr/>
          <p:nvPr/>
        </p:nvSpPr>
        <p:spPr>
          <a:xfrm>
            <a:off x="2877118" y="2214975"/>
            <a:ext cx="762377" cy="462045"/>
          </a:xfrm>
          <a:prstGeom prst="rect">
            <a:avLst/>
          </a:prstGeom>
        </p:spPr>
        <p:txBody>
          <a:bodyPr wrap="square" lIns="30668" tIns="30668" rIns="30668" bIns="30668">
            <a:spAutoFit/>
          </a:bodyPr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300" b="1" i="1" dirty="0">
                <a:solidFill>
                  <a:srgbClr val="000000"/>
                </a:solidFill>
                <a:latin typeface="Arial"/>
              </a:rPr>
              <a:t>Entro </a:t>
            </a:r>
            <a:r>
              <a:rPr lang="it-IT" sz="1300" b="1" i="1" dirty="0" err="1">
                <a:solidFill>
                  <a:srgbClr val="000000"/>
                </a:solidFill>
                <a:latin typeface="Arial"/>
              </a:rPr>
              <a:t>giu</a:t>
            </a:r>
            <a:r>
              <a:rPr lang="it-IT" sz="1300" b="1" i="1" dirty="0">
                <a:solidFill>
                  <a:srgbClr val="000000"/>
                </a:solidFill>
                <a:latin typeface="Arial"/>
              </a:rPr>
              <a:t> 2021</a:t>
            </a:r>
          </a:p>
        </p:txBody>
      </p:sp>
      <p:sp>
        <p:nvSpPr>
          <p:cNvPr id="51" name="Rettangolo 50">
            <a:extLst>
              <a:ext uri="{FF2B5EF4-FFF2-40B4-BE49-F238E27FC236}">
                <a16:creationId xmlns:a16="http://schemas.microsoft.com/office/drawing/2014/main" xmlns="" id="{EB796DD0-DBF3-4CFE-9E92-8C9669449D1E}"/>
              </a:ext>
            </a:extLst>
          </p:cNvPr>
          <p:cNvSpPr/>
          <p:nvPr/>
        </p:nvSpPr>
        <p:spPr>
          <a:xfrm>
            <a:off x="4029168" y="2214975"/>
            <a:ext cx="597501" cy="462045"/>
          </a:xfrm>
          <a:prstGeom prst="rect">
            <a:avLst/>
          </a:prstGeom>
        </p:spPr>
        <p:txBody>
          <a:bodyPr wrap="square" lIns="30668" tIns="30668" rIns="30668" bIns="30668">
            <a:spAutoFit/>
          </a:bodyPr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300" b="1" i="1" dirty="0">
                <a:solidFill>
                  <a:srgbClr val="000000"/>
                </a:solidFill>
                <a:latin typeface="Arial"/>
              </a:rPr>
              <a:t>Entro 180 gg</a:t>
            </a: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xmlns="" id="{C65B3723-800A-49B5-94AD-958C6379F5A7}"/>
              </a:ext>
            </a:extLst>
          </p:cNvPr>
          <p:cNvSpPr/>
          <p:nvPr/>
        </p:nvSpPr>
        <p:spPr>
          <a:xfrm>
            <a:off x="4986027" y="2214975"/>
            <a:ext cx="877195" cy="761616"/>
          </a:xfrm>
          <a:prstGeom prst="rect">
            <a:avLst/>
          </a:prstGeom>
        </p:spPr>
        <p:txBody>
          <a:bodyPr wrap="square" lIns="30668" tIns="30668" rIns="30668" bIns="30668">
            <a:noAutofit/>
          </a:bodyPr>
          <a:lstStyle/>
          <a:p>
            <a:pPr algn="ctr"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300" b="1" i="1" dirty="0" err="1">
                <a:solidFill>
                  <a:srgbClr val="000000"/>
                </a:solidFill>
                <a:latin typeface="Arial"/>
              </a:rPr>
              <a:t>Lug-nov</a:t>
            </a:r>
            <a:r>
              <a:rPr lang="it-IT" sz="1300" b="1" i="1" dirty="0">
                <a:solidFill>
                  <a:srgbClr val="000000"/>
                </a:solidFill>
                <a:latin typeface="Arial"/>
              </a:rPr>
              <a:t> 2021 </a:t>
            </a: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xmlns="" id="{43E87BAE-58CF-4158-BEB1-1A21DA4B9A85}"/>
              </a:ext>
            </a:extLst>
          </p:cNvPr>
          <p:cNvSpPr/>
          <p:nvPr/>
        </p:nvSpPr>
        <p:spPr>
          <a:xfrm>
            <a:off x="6433198" y="2214975"/>
            <a:ext cx="691094" cy="462045"/>
          </a:xfrm>
          <a:prstGeom prst="rect">
            <a:avLst/>
          </a:prstGeom>
        </p:spPr>
        <p:txBody>
          <a:bodyPr wrap="square" lIns="30668" tIns="30668" rIns="30668" bIns="30668">
            <a:spAutoFit/>
          </a:bodyPr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300" b="1" i="1" dirty="0">
                <a:solidFill>
                  <a:srgbClr val="000000"/>
                </a:solidFill>
                <a:latin typeface="Arial"/>
              </a:rPr>
              <a:t>Entro </a:t>
            </a:r>
            <a:r>
              <a:rPr lang="it-IT" sz="1300" b="1" i="1" dirty="0" err="1">
                <a:solidFill>
                  <a:srgbClr val="000000"/>
                </a:solidFill>
                <a:latin typeface="Arial"/>
              </a:rPr>
              <a:t>ott</a:t>
            </a:r>
            <a:r>
              <a:rPr lang="it-IT" sz="1300" b="1" i="1" dirty="0">
                <a:solidFill>
                  <a:srgbClr val="000000"/>
                </a:solidFill>
                <a:latin typeface="Arial"/>
              </a:rPr>
              <a:t> 2021</a:t>
            </a:r>
          </a:p>
        </p:txBody>
      </p:sp>
      <p:sp>
        <p:nvSpPr>
          <p:cNvPr id="54" name="Freccia a destra rientrata 114">
            <a:extLst>
              <a:ext uri="{FF2B5EF4-FFF2-40B4-BE49-F238E27FC236}">
                <a16:creationId xmlns:a16="http://schemas.microsoft.com/office/drawing/2014/main" xmlns="" id="{36CF39E3-6202-46F3-8900-034114C04C04}"/>
              </a:ext>
            </a:extLst>
          </p:cNvPr>
          <p:cNvSpPr/>
          <p:nvPr/>
        </p:nvSpPr>
        <p:spPr>
          <a:xfrm>
            <a:off x="4737842" y="2886581"/>
            <a:ext cx="2231289" cy="1290688"/>
          </a:xfrm>
          <a:prstGeom prst="notchedRightArrow">
            <a:avLst>
              <a:gd name="adj1" fmla="val 100000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30668" bIns="30668" rtlCol="0" anchor="ctr" anchorCtr="0"/>
          <a:lstStyle/>
          <a:p>
            <a:pPr algn="ctr"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ADR</a:t>
            </a:r>
          </a:p>
          <a:p>
            <a:pPr algn="ctr"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Consultazione utenza</a:t>
            </a:r>
          </a:p>
        </p:txBody>
      </p:sp>
      <p:sp>
        <p:nvSpPr>
          <p:cNvPr id="55" name="Rettangolo 54">
            <a:extLst>
              <a:ext uri="{FF2B5EF4-FFF2-40B4-BE49-F238E27FC236}">
                <a16:creationId xmlns:a16="http://schemas.microsoft.com/office/drawing/2014/main" xmlns="" id="{98FE68A8-DD73-499B-A2EA-0387B633A5EF}"/>
              </a:ext>
            </a:extLst>
          </p:cNvPr>
          <p:cNvSpPr/>
          <p:nvPr/>
        </p:nvSpPr>
        <p:spPr>
          <a:xfrm>
            <a:off x="90430" y="5861290"/>
            <a:ext cx="956480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0" baseline="30000" dirty="0">
                <a:solidFill>
                  <a:srgbClr val="000000"/>
                </a:solidFill>
                <a:latin typeface="Arial"/>
              </a:rPr>
              <a:t>(*)</a:t>
            </a:r>
            <a:r>
              <a:rPr lang="it-IT" sz="1000" dirty="0">
                <a:solidFill>
                  <a:srgbClr val="000000"/>
                </a:solidFill>
                <a:latin typeface="Arial"/>
              </a:rPr>
              <a:t>  Documento Tecnico Pluriennale: </a:t>
            </a:r>
            <a:r>
              <a:rPr lang="it-IT" sz="1000" b="0" dirty="0">
                <a:solidFill>
                  <a:srgbClr val="000000"/>
                </a:solidFill>
                <a:latin typeface="Arial"/>
              </a:rPr>
              <a:t>previsto da CDP (art. 9,3), elaborato da ADR in coerenza con PSA e recante tempi e modalità di realizzazione degli interventi programmati nel decennio.</a:t>
            </a:r>
            <a:endParaRPr lang="it-IT" sz="1000" b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56" name="Rettangolo 55">
            <a:extLst>
              <a:ext uri="{FF2B5EF4-FFF2-40B4-BE49-F238E27FC236}">
                <a16:creationId xmlns:a16="http://schemas.microsoft.com/office/drawing/2014/main" xmlns="" id="{B24790EA-E04E-4693-8149-098E50D3815D}"/>
              </a:ext>
            </a:extLst>
          </p:cNvPr>
          <p:cNvSpPr/>
          <p:nvPr/>
        </p:nvSpPr>
        <p:spPr>
          <a:xfrm>
            <a:off x="84139" y="6261980"/>
            <a:ext cx="95710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000" b="0" baseline="30000" dirty="0">
                <a:solidFill>
                  <a:srgbClr val="000000"/>
                </a:solidFill>
                <a:latin typeface="Arial"/>
              </a:rPr>
              <a:t>(**)</a:t>
            </a:r>
            <a:r>
              <a:rPr lang="it-IT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lang="it-IT" sz="1000" b="0" dirty="0">
                <a:solidFill>
                  <a:srgbClr val="000000"/>
                </a:solidFill>
                <a:latin typeface="Arial"/>
              </a:rPr>
              <a:t>AI termine del decennio ENAC e la concessionaria, previa consultazione con l'utenza, provvederanno con apposito atto contrattuale, da approvarsi con decreto del MIT di concerto con MEF entro sessanta giorni dal ricevimento dell'atto stesso, a definire quanto previsto dal CDP (art. 21,6) per la revisione della dinamica tariffaria. </a:t>
            </a:r>
          </a:p>
        </p:txBody>
      </p:sp>
      <p:sp>
        <p:nvSpPr>
          <p:cNvPr id="57" name="Rettangolo 56">
            <a:extLst>
              <a:ext uri="{FF2B5EF4-FFF2-40B4-BE49-F238E27FC236}">
                <a16:creationId xmlns:a16="http://schemas.microsoft.com/office/drawing/2014/main" xmlns="" id="{5C22CA65-A88D-43F6-827B-64C0D307B8DB}"/>
              </a:ext>
            </a:extLst>
          </p:cNvPr>
          <p:cNvSpPr/>
          <p:nvPr/>
        </p:nvSpPr>
        <p:spPr>
          <a:xfrm>
            <a:off x="7859705" y="2214975"/>
            <a:ext cx="760203" cy="462045"/>
          </a:xfrm>
          <a:prstGeom prst="rect">
            <a:avLst/>
          </a:prstGeom>
        </p:spPr>
        <p:txBody>
          <a:bodyPr wrap="square" lIns="30668" tIns="30668" rIns="30668" bIns="30668">
            <a:spAutoFit/>
          </a:bodyPr>
          <a:lstStyle/>
          <a:p>
            <a:pPr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300" b="1" i="1" dirty="0">
                <a:solidFill>
                  <a:srgbClr val="000000"/>
                </a:solidFill>
                <a:latin typeface="Arial"/>
              </a:rPr>
              <a:t>Entro </a:t>
            </a:r>
            <a:r>
              <a:rPr lang="it-IT" sz="1300" b="1" i="1" dirty="0" err="1">
                <a:solidFill>
                  <a:srgbClr val="000000"/>
                </a:solidFill>
                <a:latin typeface="Arial"/>
              </a:rPr>
              <a:t>dic</a:t>
            </a:r>
            <a:r>
              <a:rPr lang="it-IT" sz="1300" b="1" i="1" dirty="0">
                <a:solidFill>
                  <a:srgbClr val="000000"/>
                </a:solidFill>
                <a:latin typeface="Arial"/>
              </a:rPr>
              <a:t> 2021</a:t>
            </a:r>
          </a:p>
        </p:txBody>
      </p:sp>
      <p:sp>
        <p:nvSpPr>
          <p:cNvPr id="58" name="Freccia a destra rientrata 116">
            <a:extLst>
              <a:ext uri="{FF2B5EF4-FFF2-40B4-BE49-F238E27FC236}">
                <a16:creationId xmlns:a16="http://schemas.microsoft.com/office/drawing/2014/main" xmlns="" id="{773ACD9B-BE95-4A13-9DFC-2E7C10C18AE1}"/>
              </a:ext>
            </a:extLst>
          </p:cNvPr>
          <p:cNvSpPr/>
          <p:nvPr/>
        </p:nvSpPr>
        <p:spPr>
          <a:xfrm>
            <a:off x="5804394" y="2886581"/>
            <a:ext cx="2175783" cy="1290688"/>
          </a:xfrm>
          <a:prstGeom prst="notchedRightArrow">
            <a:avLst>
              <a:gd name="adj1" fmla="val 100000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30668" bIns="30668" rtlCol="0" anchor="ctr" anchorCtr="0"/>
          <a:lstStyle/>
          <a:p>
            <a:pPr algn="ctr"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ENAC/ADR</a:t>
            </a:r>
          </a:p>
          <a:p>
            <a:pPr algn="ctr"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Allegato al CDP(**)</a:t>
            </a:r>
            <a:r>
              <a:rPr lang="it-IT" sz="1000" b="1" baseline="300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per II decennio (2022-2031)</a:t>
            </a:r>
          </a:p>
        </p:txBody>
      </p:sp>
      <p:sp>
        <p:nvSpPr>
          <p:cNvPr id="59" name="Freccia a destra rientrata 115">
            <a:extLst>
              <a:ext uri="{FF2B5EF4-FFF2-40B4-BE49-F238E27FC236}">
                <a16:creationId xmlns:a16="http://schemas.microsoft.com/office/drawing/2014/main" xmlns="" id="{A880ED39-E1F9-4AF7-B2F6-F0EF8FA62694}"/>
              </a:ext>
            </a:extLst>
          </p:cNvPr>
          <p:cNvSpPr/>
          <p:nvPr/>
        </p:nvSpPr>
        <p:spPr>
          <a:xfrm>
            <a:off x="7330362" y="2886581"/>
            <a:ext cx="2175783" cy="1290688"/>
          </a:xfrm>
          <a:prstGeom prst="notchedRightArrow">
            <a:avLst>
              <a:gd name="adj1" fmla="val 100000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30668" bIns="30668" rtlCol="0" anchor="ctr" anchorCtr="0"/>
          <a:lstStyle/>
          <a:p>
            <a:pPr algn="ctr"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MIT/MEF</a:t>
            </a:r>
          </a:p>
          <a:p>
            <a:pPr algn="ctr" defTabSz="769492" fontAlgn="auto">
              <a:spcBef>
                <a:spcPts val="0"/>
              </a:spcBef>
              <a:spcAft>
                <a:spcPts val="0"/>
              </a:spcAft>
            </a:pPr>
            <a:r>
              <a:rPr lang="it-IT" sz="1000" b="1" dirty="0">
                <a:solidFill>
                  <a:srgbClr val="000000"/>
                </a:solidFill>
                <a:cs typeface="Arial" pitchFamily="34" charset="0"/>
              </a:rPr>
              <a:t>Decreto di approvazione dell’Allegato al CDP</a:t>
            </a:r>
          </a:p>
        </p:txBody>
      </p:sp>
    </p:spTree>
    <p:extLst>
      <p:ext uri="{BB962C8B-B14F-4D97-AF65-F5344CB8AC3E}">
        <p14:creationId xmlns:p14="http://schemas.microsoft.com/office/powerpoint/2010/main" val="282737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C4A0E478-ACC3-4707-883C-3BBAE464DB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8026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36" name="Diapositiva think-cell" r:id="rId33" imgW="347" imgH="348" progId="TCLayout.ActiveDocument.1">
                  <p:embed/>
                </p:oleObj>
              </mc:Choice>
              <mc:Fallback>
                <p:oleObj name="Diapositiva think-cell" r:id="rId33" imgW="347" imgH="348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xmlns="" id="{C4A0E478-ACC3-4707-883C-3BBAE464DB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CBABC029-E03E-4938-9632-10ECF1A1FD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4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xmlns="" id="{55C63F8F-B6E8-47C0-B088-A9BE569F6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09" y="361343"/>
            <a:ext cx="8691727" cy="467867"/>
          </a:xfrm>
        </p:spPr>
        <p:txBody>
          <a:bodyPr/>
          <a:lstStyle/>
          <a:p>
            <a:r>
              <a:rPr lang="it-IT" dirty="0"/>
              <a:t>Forte riduzione del traffico a seguito della pandemia. A FCO performance peggiori rispetto all’andamento del settore</a:t>
            </a:r>
          </a:p>
        </p:txBody>
      </p:sp>
      <p:graphicFrame>
        <p:nvGraphicFramePr>
          <p:cNvPr id="197" name="Chart 3">
            <a:extLst>
              <a:ext uri="{FF2B5EF4-FFF2-40B4-BE49-F238E27FC236}">
                <a16:creationId xmlns:a16="http://schemas.microsoft.com/office/drawing/2014/main" xmlns="" id="{3C4F4F09-923F-4B2B-8788-7C73CD0CA23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11355000"/>
              </p:ext>
            </p:extLst>
          </p:nvPr>
        </p:nvGraphicFramePr>
        <p:xfrm>
          <a:off x="350838" y="1792288"/>
          <a:ext cx="5508625" cy="3890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9" name="Text Placeholder 3">
            <a:extLst>
              <a:ext uri="{FF2B5EF4-FFF2-40B4-BE49-F238E27FC236}">
                <a16:creationId xmlns:a16="http://schemas.microsoft.com/office/drawing/2014/main" xmlns="" id="{D8FEE239-9315-42CE-B8BD-756E4FC4A78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72125" y="5630863"/>
            <a:ext cx="2159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97FAF5D-AD51-4D18-B90B-5CF82D12E3CF}" type="datetime'''''S''''''''''''''''e''''''''''''''t''''''''t'">
              <a:rPr lang="it-IT" altLang="en-US" smtClean="0"/>
              <a:pPr/>
              <a:t>Sett</a:t>
            </a:fld>
            <a:endParaRPr lang="it-IT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xmlns="" id="{D7E34148-F850-4566-A4DB-FEB983C3DE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92225" y="5630863"/>
            <a:ext cx="2095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9FE6F7B-CBF1-4F71-BF8A-FDEE8CABBA68}" type="datetime'''F''''''''''''''''''''''''''''''''e''''''''''''''''b'''''''">
              <a:rPr lang="it-IT" altLang="en-US" smtClean="0"/>
              <a:pPr/>
              <a:t>Feb</a:t>
            </a:fld>
            <a:endParaRPr lang="it-IT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xmlns="" id="{5CC2BCFA-6058-402D-A4F5-89DDB540A90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71513" y="5630863"/>
            <a:ext cx="2286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07B047-AC1D-422B-B5C7-3A98C47D9094}" type="datetime'''''''''''''''''''''G''e''''''''''''''n'''''''''''''">
              <a:rPr lang="it-IT" altLang="en-US" smtClean="0"/>
              <a:pPr/>
              <a:t>Gen</a:t>
            </a:fld>
            <a:endParaRPr lang="it-IT" dirty="0"/>
          </a:p>
        </p:txBody>
      </p:sp>
      <p:sp useBgFill="1">
        <p:nvSpPr>
          <p:cNvPr id="113" name="Text Placeholder 3">
            <a:extLst>
              <a:ext uri="{FF2B5EF4-FFF2-40B4-BE49-F238E27FC236}">
                <a16:creationId xmlns:a16="http://schemas.microsoft.com/office/drawing/2014/main" xmlns="" id="{04601DA6-3206-435E-AD50-11CFD16AE83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471738" y="4989513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E1D6CA3-5A9D-42E2-8350-B8C403C78CAF}" type="datetime'''''-''''''''''''''''''''''''''''''''88''''''''''''%'''''''''">
              <a:rPr lang="it-IT" altLang="en-US" smtClean="0">
                <a:effectLst/>
              </a:rPr>
              <a:pPr/>
              <a:t>-88%</a:t>
            </a:fld>
            <a:endParaRPr lang="it-IT" dirty="0"/>
          </a:p>
        </p:txBody>
      </p:sp>
      <p:sp useBgFill="1">
        <p:nvSpPr>
          <p:cNvPr id="118" name="Text Placeholder 3">
            <a:extLst>
              <a:ext uri="{FF2B5EF4-FFF2-40B4-BE49-F238E27FC236}">
                <a16:creationId xmlns:a16="http://schemas.microsoft.com/office/drawing/2014/main" xmlns="" id="{7050BA17-407E-4356-8443-89D8B40F4F8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247775" y="2574925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82202DC-09B4-415B-A6BA-AD60278A99E2}" type="datetime'''''''''-''1''0''''''''''%'''''''''''''''''''''''''">
              <a:rPr lang="it-IT" altLang="en-US" smtClean="0">
                <a:effectLst/>
              </a:rPr>
              <a:pPr/>
              <a:t>-10%</a:t>
            </a:fld>
            <a:endParaRPr lang="it-IT" dirty="0"/>
          </a:p>
        </p:txBody>
      </p:sp>
      <p:sp useBgFill="1">
        <p:nvSpPr>
          <p:cNvPr id="159" name="Text Placeholder 3">
            <a:extLst>
              <a:ext uri="{FF2B5EF4-FFF2-40B4-BE49-F238E27FC236}">
                <a16:creationId xmlns:a16="http://schemas.microsoft.com/office/drawing/2014/main" xmlns="" id="{F0DC87E6-C3E0-4143-9C79-D649E87E7AF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470150" y="5289550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FB0A1E7-09A5-48D0-AF93-F86F8A10F3DC}" type="datetime'-''''''''''''9''''''''''''''''''''''''''1%'''''''''''">
              <a:rPr lang="it-IT" altLang="en-US" smtClean="0">
                <a:effectLst/>
              </a:rPr>
              <a:pPr/>
              <a:t>-91%</a:t>
            </a:fld>
            <a:endParaRPr lang="it-IT" dirty="0"/>
          </a:p>
        </p:txBody>
      </p:sp>
      <p:sp useBgFill="1">
        <p:nvSpPr>
          <p:cNvPr id="140" name="Text Placeholder 3">
            <a:extLst>
              <a:ext uri="{FF2B5EF4-FFF2-40B4-BE49-F238E27FC236}">
                <a16:creationId xmlns:a16="http://schemas.microsoft.com/office/drawing/2014/main" xmlns="" id="{785FCB86-B4C2-4F34-AD45-5EC5C2C0617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66775" y="2670175"/>
            <a:ext cx="2349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AE49F32-3A09-46BB-9D9E-10669FA4264A}" type="datetime'''''''-''''''''''''''''''''8''''''%'''''''''''''''''''''''''''">
              <a:rPr lang="it-IT" altLang="en-US" smtClean="0">
                <a:effectLst/>
              </a:rPr>
              <a:pPr/>
              <a:t>-8%</a:t>
            </a:fld>
            <a:endParaRPr lang="it-IT" dirty="0"/>
          </a:p>
        </p:txBody>
      </p:sp>
      <p:sp useBgFill="1">
        <p:nvSpPr>
          <p:cNvPr id="164" name="Text Placeholder 3">
            <a:extLst>
              <a:ext uri="{FF2B5EF4-FFF2-40B4-BE49-F238E27FC236}">
                <a16:creationId xmlns:a16="http://schemas.microsoft.com/office/drawing/2014/main" xmlns="" id="{0CA91310-77D6-47C4-B6DF-9451D087425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521325" y="4559300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A5379D0-49FF-44B9-9371-D56B150B5006}" type="datetime'-''''''''''''''6''''''''''9''''''''''''''''''''''''''''%'''">
              <a:rPr lang="it-IT" altLang="en-US" smtClean="0">
                <a:effectLst/>
              </a:rPr>
              <a:pPr/>
              <a:t>-69%</a:t>
            </a:fld>
            <a:endParaRPr lang="it-IT" dirty="0"/>
          </a:p>
        </p:txBody>
      </p:sp>
      <p:sp useBgFill="1">
        <p:nvSpPr>
          <p:cNvPr id="111" name="Text Placeholder 3">
            <a:extLst>
              <a:ext uri="{FF2B5EF4-FFF2-40B4-BE49-F238E27FC236}">
                <a16:creationId xmlns:a16="http://schemas.microsoft.com/office/drawing/2014/main" xmlns="" id="{38F00468-15AB-4F74-BE05-58CBA032891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860550" y="3536950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1AE0C08-5645-4DCD-8485-FFA4EB01F480}" type="datetime'''''''''''''''''-4''''''1''''''''''''''''''''''''''''%'''">
              <a:rPr lang="it-IT" altLang="en-US" smtClean="0">
                <a:effectLst/>
              </a:rPr>
              <a:pPr/>
              <a:t>-41%</a:t>
            </a:fld>
            <a:endParaRPr lang="it-IT" dirty="0"/>
          </a:p>
        </p:txBody>
      </p:sp>
      <p:sp useBgFill="1">
        <p:nvSpPr>
          <p:cNvPr id="112" name="Text Placeholder 3">
            <a:extLst>
              <a:ext uri="{FF2B5EF4-FFF2-40B4-BE49-F238E27FC236}">
                <a16:creationId xmlns:a16="http://schemas.microsoft.com/office/drawing/2014/main" xmlns="" id="{122142B3-16ED-48F1-9984-CD5AB6F3505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860550" y="4246563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D48FF42-C996-4AA1-B055-4C3C5ACFE161}" type="datetime'''-''6''''4''''''''''''''''''''''''''''''''''''''''%'">
              <a:rPr lang="it-IT" altLang="en-US" smtClean="0">
                <a:effectLst/>
              </a:rPr>
              <a:pPr/>
              <a:t>-64%</a:t>
            </a:fld>
            <a:endParaRPr lang="it-IT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xmlns="" id="{79592F9A-4A5B-427D-9187-EB610B9AFC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905000" y="5630863"/>
            <a:ext cx="2095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376FF40-268F-4E39-8843-98827D69CF9F}" type="datetime'''''M''''''a''''''''''''r'''''''''''''''''">
              <a:rPr lang="it-IT" altLang="en-US" smtClean="0"/>
              <a:pPr/>
              <a:t>Mar</a:t>
            </a:fld>
            <a:endParaRPr lang="it-IT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xmlns="" id="{9AB20DF3-C2DB-49D6-A6D8-7A5F2163DC3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525713" y="5630863"/>
            <a:ext cx="1905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903C6BB-C2EF-4F18-BCC0-0CAF2FA97079}" type="datetime'''A''''''''''''''''''''''''''''''''''''''p''''''''''''''''''r'">
              <a:rPr lang="it-IT" altLang="en-US" smtClean="0"/>
              <a:pPr/>
              <a:t>Apr</a:t>
            </a:fld>
            <a:endParaRPr lang="it-IT" dirty="0"/>
          </a:p>
        </p:txBody>
      </p:sp>
      <p:sp useBgFill="1">
        <p:nvSpPr>
          <p:cNvPr id="160" name="Text Placeholder 3">
            <a:extLst>
              <a:ext uri="{FF2B5EF4-FFF2-40B4-BE49-F238E27FC236}">
                <a16:creationId xmlns:a16="http://schemas.microsoft.com/office/drawing/2014/main" xmlns="" id="{5810A6DF-EDF7-468D-98F9-EB509BF1C75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074988" y="5203825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DE3ABEF-3619-4AE2-80D9-574D0A9525EF}" type="datetime'''''''-''''9''''''''''''''''''''''''0''''''''''''''''''''%'''">
              <a:rPr lang="it-IT" altLang="en-US" smtClean="0">
                <a:effectLst/>
              </a:rPr>
              <a:pPr/>
              <a:t>-90%</a:t>
            </a:fld>
            <a:endParaRPr lang="it-IT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xmlns="" id="{CDA437A8-7F04-49FD-9433-A4EE398381A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116263" y="5630863"/>
            <a:ext cx="2349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A5AD4E-1101-49A9-A2AF-4D662486291D}" type="datetime'''''''''''''''''''M''''''''''''a''''''''''g'''''''">
              <a:rPr lang="it-IT" altLang="en-US" smtClean="0"/>
              <a:pPr/>
              <a:t>Mag</a:t>
            </a:fld>
            <a:endParaRPr lang="it-IT" dirty="0"/>
          </a:p>
        </p:txBody>
      </p:sp>
      <p:sp useBgFill="1">
        <p:nvSpPr>
          <p:cNvPr id="172" name="Text Placeholder 3">
            <a:extLst>
              <a:ext uri="{FF2B5EF4-FFF2-40B4-BE49-F238E27FC236}">
                <a16:creationId xmlns:a16="http://schemas.microsoft.com/office/drawing/2014/main" xmlns="" id="{D2F4BB30-C061-4629-9142-CEAF201F6FD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695700" y="4711700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596DEA-4866-49B4-8C92-F9DDEAA77A9C}" type="datetime'''''-''''7''''''''''''''''''9''''''''''''''''%'''''''''''''''">
              <a:rPr lang="it-IT" altLang="en-US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79%</a:t>
            </a:fld>
            <a:endParaRPr lang="it-IT" dirty="0"/>
          </a:p>
        </p:txBody>
      </p:sp>
      <p:sp useBgFill="1">
        <p:nvSpPr>
          <p:cNvPr id="161" name="Text Placeholder 3">
            <a:extLst>
              <a:ext uri="{FF2B5EF4-FFF2-40B4-BE49-F238E27FC236}">
                <a16:creationId xmlns:a16="http://schemas.microsoft.com/office/drawing/2014/main" xmlns="" id="{0BAFD724-C40B-4C31-AAC9-F13F0497870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686175" y="5126038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75589D8-7B05-4AAD-869C-ECC60B4913BB}" type="datetime'''''-''''8''''''''''7''''''''''%'''''">
              <a:rPr lang="it-IT" altLang="en-US" smtClean="0">
                <a:effectLst/>
              </a:rPr>
              <a:pPr/>
              <a:t>-87%</a:t>
            </a:fld>
            <a:endParaRPr lang="it-IT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xmlns="" id="{3C77F01C-F986-4709-BF9A-793CEB50F30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749675" y="5630863"/>
            <a:ext cx="1905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7230AD4-A490-4130-B7FE-026D35DAD4CB}" type="datetime'''''''''''G''''''''''''''''''''''''i''''u'''''''''''">
              <a:rPr lang="it-IT" altLang="en-US" smtClean="0"/>
              <a:pPr/>
              <a:t>Giu</a:t>
            </a:fld>
            <a:endParaRPr lang="it-IT" dirty="0"/>
          </a:p>
        </p:txBody>
      </p:sp>
      <p:sp useBgFill="1">
        <p:nvSpPr>
          <p:cNvPr id="162" name="Text Placeholder 3">
            <a:extLst>
              <a:ext uri="{FF2B5EF4-FFF2-40B4-BE49-F238E27FC236}">
                <a16:creationId xmlns:a16="http://schemas.microsoft.com/office/drawing/2014/main" xmlns="" id="{1DB624F0-8E80-4E30-BCC1-1541103F14D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297363" y="4706938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195066E-D2A6-434C-A127-AAA5800E3FFA}" type="datetime'-''74''%'''">
              <a:rPr lang="it-IT" altLang="en-US" smtClean="0">
                <a:effectLst/>
              </a:rPr>
              <a:pPr/>
              <a:t>-74%</a:t>
            </a:fld>
            <a:endParaRPr lang="it-IT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xmlns="" id="{19E7A898-0BFF-42D2-A337-C2F905BB81B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354513" y="5630863"/>
            <a:ext cx="2032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4783B74-3851-462E-8796-70950E601A01}" type="datetime'''''L''''''''''''''''''''''''''''''''''u''g'">
              <a:rPr lang="it-IT" altLang="en-US" smtClean="0"/>
              <a:pPr/>
              <a:t>Lug</a:t>
            </a:fld>
            <a:endParaRPr lang="it-IT" dirty="0"/>
          </a:p>
        </p:txBody>
      </p:sp>
      <p:sp useBgFill="1">
        <p:nvSpPr>
          <p:cNvPr id="163" name="Text Placeholder 3">
            <a:extLst>
              <a:ext uri="{FF2B5EF4-FFF2-40B4-BE49-F238E27FC236}">
                <a16:creationId xmlns:a16="http://schemas.microsoft.com/office/drawing/2014/main" xmlns="" id="{003FCA41-CC9E-4671-B12B-3011118888D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910138" y="4468813"/>
            <a:ext cx="298450" cy="150813"/>
          </a:xfrm>
          <a:prstGeom prst="rect">
            <a:avLst/>
          </a:prstGeom>
          <a:ln>
            <a:noFill/>
          </a:ln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53F812D-0E7F-481B-8F2D-20A7BC9EF123}" type="datetime'''''''''''''''''-''''''''''''''''''''''66%'''''''''''''''">
              <a:rPr lang="it-IT" altLang="en-US" smtClean="0">
                <a:effectLst/>
              </a:rPr>
              <a:pPr/>
              <a:t>-66%</a:t>
            </a:fld>
            <a:endParaRPr lang="it-IT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xmlns="" id="{5B055BCF-3A73-47B1-A6ED-68FB83C5B13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960938" y="5630863"/>
            <a:ext cx="2159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07533F4-C4CB-4221-BA4F-6DD077CC417D}" type="datetime'''''''A''g''''''''''''''''''''''''o'">
              <a:rPr lang="it-IT" altLang="en-US" smtClean="0"/>
              <a:pPr/>
              <a:t>Ago</a:t>
            </a:fld>
            <a:endParaRPr lang="it-IT" dirty="0"/>
          </a:p>
        </p:txBody>
      </p:sp>
      <p:cxnSp>
        <p:nvCxnSpPr>
          <p:cNvPr id="133" name="Connettore diritto 132">
            <a:extLst>
              <a:ext uri="{FF2B5EF4-FFF2-40B4-BE49-F238E27FC236}">
                <a16:creationId xmlns:a16="http://schemas.microsoft.com/office/drawing/2014/main" xmlns="" id="{15C49F2B-C71E-4E9E-9482-2247E7566FAC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3665538" y="2730500"/>
            <a:ext cx="257175" cy="0"/>
          </a:xfrm>
          <a:prstGeom prst="line">
            <a:avLst/>
          </a:prstGeom>
          <a:ln w="9525" cap="rnd" cmpd="sng" algn="ctr">
            <a:solidFill>
              <a:srgbClr val="19398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nettore diritto 134">
            <a:extLst>
              <a:ext uri="{FF2B5EF4-FFF2-40B4-BE49-F238E27FC236}">
                <a16:creationId xmlns:a16="http://schemas.microsoft.com/office/drawing/2014/main" xmlns="" id="{8219F865-4A3C-4DF5-B6BA-F8CA535F5571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3665538" y="2982913"/>
            <a:ext cx="257175" cy="0"/>
          </a:xfrm>
          <a:prstGeom prst="line">
            <a:avLst/>
          </a:prstGeom>
          <a:ln w="9525" cap="rnd" cmpd="sng" algn="ctr">
            <a:solidFill>
              <a:srgbClr val="FF960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e 133">
            <a:extLst>
              <a:ext uri="{FF2B5EF4-FFF2-40B4-BE49-F238E27FC236}">
                <a16:creationId xmlns:a16="http://schemas.microsoft.com/office/drawing/2014/main" xmlns="" id="{DF909BDD-9818-4289-B5C4-93E4D25C1CF2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3768725" y="2705100"/>
            <a:ext cx="50800" cy="50800"/>
          </a:xfrm>
          <a:prstGeom prst="ellipse">
            <a:avLst/>
          </a:prstGeom>
          <a:solidFill>
            <a:srgbClr val="193989"/>
          </a:solidFill>
          <a:ln w="9525" cap="rnd" cmpd="sng" algn="ctr">
            <a:solidFill>
              <a:srgbClr val="19398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>
              <a:solidFill>
                <a:srgbClr val="FFFFFF"/>
              </a:solidFill>
            </a:endParaRPr>
          </a:p>
        </p:txBody>
      </p:sp>
      <p:sp>
        <p:nvSpPr>
          <p:cNvPr id="136" name="Rettangolo 135">
            <a:extLst>
              <a:ext uri="{FF2B5EF4-FFF2-40B4-BE49-F238E27FC236}">
                <a16:creationId xmlns:a16="http://schemas.microsoft.com/office/drawing/2014/main" xmlns="" id="{2FEEB416-30A2-4A67-8DAB-C0826D6988B4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768725" y="2957513"/>
            <a:ext cx="50800" cy="50800"/>
          </a:xfrm>
          <a:prstGeom prst="rect">
            <a:avLst/>
          </a:prstGeom>
          <a:solidFill>
            <a:srgbClr val="FF960C"/>
          </a:solidFill>
          <a:ln w="9525" cap="rnd" cmpd="sng" algn="ctr">
            <a:solidFill>
              <a:srgbClr val="FF960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>
              <a:solidFill>
                <a:srgbClr val="FFFFFF"/>
              </a:solidFill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3D23D2DC-8C06-42DB-8877-7AA19C04889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983038" y="2646363"/>
            <a:ext cx="8778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1DCF04E-90C7-4294-98AB-0AC8307F1DA8}" type="datetime'''''''''''E''uro''''''c''''''o''''n''''''''t''''r''o''''l '">
              <a:rPr lang="it-IT" altLang="en-US" sz="1200" smtClean="0"/>
              <a:pPr/>
              <a:t>Eurocontrol </a:t>
            </a:fld>
            <a:r>
              <a:rPr lang="it-IT" altLang="en-US" sz="1200" dirty="0"/>
              <a:t>*</a:t>
            </a:r>
            <a:endParaRPr lang="it-IT" sz="1200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0424EF8C-4445-4D75-8765-FE51CBA86EB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983038" y="2898775"/>
            <a:ext cx="3222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AC3A007-9187-4973-AD45-4216944A6661}" type="datetime'''''''''''''''''''''F''C''''''''''''''''''''''''''''''O'">
              <a:rPr lang="it-IT" altLang="en-US" sz="1200" smtClean="0"/>
              <a:pPr/>
              <a:t>FCO</a:t>
            </a:fld>
            <a:endParaRPr lang="it-IT" sz="1200" dirty="0"/>
          </a:p>
        </p:txBody>
      </p:sp>
      <p:grpSp>
        <p:nvGrpSpPr>
          <p:cNvPr id="153" name="Gruppo 36">
            <a:extLst>
              <a:ext uri="{FF2B5EF4-FFF2-40B4-BE49-F238E27FC236}">
                <a16:creationId xmlns:a16="http://schemas.microsoft.com/office/drawing/2014/main" xmlns="" id="{ACFD6548-81D1-4637-BFA4-4D1C35EDA3FF}"/>
              </a:ext>
            </a:extLst>
          </p:cNvPr>
          <p:cNvGrpSpPr>
            <a:grpSpLocks/>
          </p:cNvGrpSpPr>
          <p:nvPr/>
        </p:nvGrpSpPr>
        <p:grpSpPr bwMode="auto">
          <a:xfrm>
            <a:off x="517526" y="1340169"/>
            <a:ext cx="6278562" cy="280954"/>
            <a:chOff x="6254750" y="1459966"/>
            <a:chExt cx="2947988" cy="281350"/>
          </a:xfrm>
        </p:grpSpPr>
        <p:sp>
          <p:nvSpPr>
            <p:cNvPr id="154" name="Line 3">
              <a:extLst>
                <a:ext uri="{FF2B5EF4-FFF2-40B4-BE49-F238E27FC236}">
                  <a16:creationId xmlns:a16="http://schemas.microsoft.com/office/drawing/2014/main" xmlns="" id="{83B0E4EB-4B33-46A5-B55C-81960C5A58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54750" y="1741316"/>
              <a:ext cx="2947988" cy="0"/>
            </a:xfrm>
            <a:prstGeom prst="line">
              <a:avLst/>
            </a:prstGeom>
            <a:noFill/>
            <a:ln w="28575">
              <a:solidFill>
                <a:srgbClr val="25688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5" name="Text12">
              <a:extLst>
                <a:ext uri="{FF2B5EF4-FFF2-40B4-BE49-F238E27FC236}">
                  <a16:creationId xmlns:a16="http://schemas.microsoft.com/office/drawing/2014/main" xmlns="" id="{9CD4960C-E83A-4004-B7A5-CAF0653DE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9344" y="1459966"/>
              <a:ext cx="2918800" cy="2628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/>
            <a:lstStyle>
              <a:lvl1pPr eaLnBrk="0" hangingPunct="0">
                <a:lnSpc>
                  <a:spcPct val="93000"/>
                </a:lnSpc>
                <a:spcBef>
                  <a:spcPts val="25"/>
                </a:spcBef>
                <a:buFont typeface="Arial" pitchFamily="34" charset="0"/>
                <a:defRPr sz="17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ct val="93000"/>
                </a:lnSpc>
                <a:spcBef>
                  <a:spcPts val="1200"/>
                </a:spcBef>
                <a:buFont typeface="Arial" pitchFamily="34" charset="0"/>
                <a:buChar char="•"/>
                <a:defRPr sz="17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ct val="93000"/>
                </a:lnSpc>
                <a:spcBef>
                  <a:spcPts val="38"/>
                </a:spcBef>
                <a:buFont typeface="Arial" pitchFamily="34" charset="0"/>
                <a:buChar char="–"/>
                <a:defRPr sz="17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ct val="93000"/>
                </a:lnSpc>
                <a:buFont typeface="Arial" pitchFamily="34" charset="0"/>
                <a:buChar char="-"/>
                <a:defRPr sz="17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ct val="93000"/>
                </a:lnSpc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7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 charset="0"/>
                </a:rPr>
                <a:t>Traffico movimenti 2020 FCO vs ultime previsioni Eurocontrol (% vs 2019) </a:t>
              </a:r>
            </a:p>
          </p:txBody>
        </p:sp>
      </p:grpSp>
      <p:sp>
        <p:nvSpPr>
          <p:cNvPr id="169" name="Triangolo isoscele 168">
            <a:extLst>
              <a:ext uri="{FF2B5EF4-FFF2-40B4-BE49-F238E27FC236}">
                <a16:creationId xmlns:a16="http://schemas.microsoft.com/office/drawing/2014/main" xmlns="" id="{FD56E6FC-D02B-4678-9220-02A9EA31DADB}"/>
              </a:ext>
            </a:extLst>
          </p:cNvPr>
          <p:cNvSpPr/>
          <p:nvPr/>
        </p:nvSpPr>
        <p:spPr>
          <a:xfrm rot="5400000">
            <a:off x="5888945" y="3777797"/>
            <a:ext cx="1247321" cy="315686"/>
          </a:xfrm>
          <a:prstGeom prst="triangle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>
              <a:solidFill>
                <a:srgbClr val="FFFFFF"/>
              </a:solidFill>
            </a:endParaRPr>
          </a:p>
        </p:txBody>
      </p:sp>
      <p:sp>
        <p:nvSpPr>
          <p:cNvPr id="171" name="Rettangolo 170">
            <a:extLst>
              <a:ext uri="{FF2B5EF4-FFF2-40B4-BE49-F238E27FC236}">
                <a16:creationId xmlns:a16="http://schemas.microsoft.com/office/drawing/2014/main" xmlns="" id="{7CB65720-51AC-405B-8B27-21DD1DECE97E}"/>
              </a:ext>
            </a:extLst>
          </p:cNvPr>
          <p:cNvSpPr/>
          <p:nvPr/>
        </p:nvSpPr>
        <p:spPr>
          <a:xfrm>
            <a:off x="7005638" y="2024979"/>
            <a:ext cx="2678113" cy="36038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Traffico passeggeri YTD a FCO pari a -74,7% vs 2019 (-64,7% in termini di movimenti)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Performance a FCO peggiori rispetto al resto </a:t>
            </a:r>
            <a:r>
              <a:rPr lang="it-IT" sz="1600" dirty="0" smtClean="0">
                <a:solidFill>
                  <a:schemeClr val="tx1"/>
                </a:solidFill>
              </a:rPr>
              <a:t>dei principali aeroporti </a:t>
            </a:r>
            <a:r>
              <a:rPr lang="it-IT" sz="1600" dirty="0">
                <a:solidFill>
                  <a:schemeClr val="tx1"/>
                </a:solidFill>
              </a:rPr>
              <a:t>europei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Per il 2020 atteso un traffico passeggeri </a:t>
            </a:r>
            <a:r>
              <a:rPr lang="it-IT" sz="1600" dirty="0" smtClean="0">
                <a:solidFill>
                  <a:schemeClr val="tx1"/>
                </a:solidFill>
              </a:rPr>
              <a:t>di</a:t>
            </a:r>
            <a:r>
              <a:rPr lang="it-IT" sz="1600" dirty="0" smtClean="0">
                <a:solidFill>
                  <a:schemeClr val="tx1"/>
                </a:solidFill>
              </a:rPr>
              <a:t> </a:t>
            </a:r>
            <a:r>
              <a:rPr lang="it-IT" sz="1600" dirty="0">
                <a:solidFill>
                  <a:schemeClr val="tx1"/>
                </a:solidFill>
              </a:rPr>
              <a:t>-75% circa vs il 2019 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xmlns="" id="{B09ED262-069D-4A48-AB19-6A79A23264FF}"/>
              </a:ext>
            </a:extLst>
          </p:cNvPr>
          <p:cNvSpPr txBox="1"/>
          <p:nvPr/>
        </p:nvSpPr>
        <p:spPr>
          <a:xfrm>
            <a:off x="22262" y="6475919"/>
            <a:ext cx="6784029" cy="1500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000" dirty="0">
                <a:solidFill>
                  <a:schemeClr val="tx1"/>
                </a:solidFill>
              </a:rPr>
              <a:t>* Fonte: report Eurocontrol del 14 settembre 2020</a:t>
            </a:r>
          </a:p>
        </p:txBody>
      </p:sp>
    </p:spTree>
    <p:extLst>
      <p:ext uri="{BB962C8B-B14F-4D97-AF65-F5344CB8AC3E}">
        <p14:creationId xmlns:p14="http://schemas.microsoft.com/office/powerpoint/2010/main" val="254412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C8334B3-0664-4E94-B5D5-28858B1DBB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592905"/>
              </p:ext>
            </p:extLst>
          </p:nvPr>
        </p:nvGraphicFramePr>
        <p:xfrm>
          <a:off x="1294" y="858444"/>
          <a:ext cx="12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60" name="Diapositiva think-cell" r:id="rId6" imgW="395" imgH="394" progId="TCLayout.ActiveDocument.1">
                  <p:embed/>
                </p:oleObj>
              </mc:Choice>
              <mc:Fallback>
                <p:oleObj name="Diapositiva think-cell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C8334B3-0664-4E94-B5D5-28858B1DBB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4" y="858444"/>
                        <a:ext cx="12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3CA62C-932D-461D-8B58-7F4E9B99654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" y="857254"/>
            <a:ext cx="128985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5A148FE-A5C0-41E8-8064-B5EF8B1CA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63" y="162227"/>
            <a:ext cx="9264759" cy="684212"/>
          </a:xfrm>
        </p:spPr>
        <p:txBody>
          <a:bodyPr/>
          <a:lstStyle/>
          <a:p>
            <a:r>
              <a:rPr lang="it-IT" dirty="0"/>
              <a:t/>
            </a:r>
            <a:br>
              <a:rPr lang="it-IT" dirty="0"/>
            </a:br>
            <a:r>
              <a:rPr lang="it-IT" dirty="0" smtClean="0"/>
              <a:t>Le </a:t>
            </a:r>
            <a:r>
              <a:rPr lang="it-IT" dirty="0"/>
              <a:t>principali </a:t>
            </a:r>
            <a:r>
              <a:rPr lang="it-IT" dirty="0" smtClean="0"/>
              <a:t>fonti di </a:t>
            </a:r>
            <a:r>
              <a:rPr lang="it-IT" dirty="0"/>
              <a:t>settore prevedono </a:t>
            </a:r>
            <a:r>
              <a:rPr lang="it-IT" dirty="0" smtClean="0"/>
              <a:t>forte </a:t>
            </a:r>
            <a:r>
              <a:rPr lang="it-IT" dirty="0"/>
              <a:t>riduzione </a:t>
            </a:r>
            <a:r>
              <a:rPr lang="it-IT" dirty="0" smtClean="0"/>
              <a:t>nel </a:t>
            </a:r>
            <a:br>
              <a:rPr lang="it-IT" dirty="0" smtClean="0"/>
            </a:br>
            <a:r>
              <a:rPr lang="it-IT" dirty="0" smtClean="0"/>
              <a:t>2020 </a:t>
            </a:r>
            <a:r>
              <a:rPr lang="it-IT" dirty="0"/>
              <a:t>ed incertezza </a:t>
            </a:r>
            <a:r>
              <a:rPr lang="it-IT" dirty="0" smtClean="0"/>
              <a:t>sui tempi di </a:t>
            </a:r>
            <a:r>
              <a:rPr lang="it-IT" dirty="0"/>
              <a:t>recupero </a:t>
            </a:r>
            <a:r>
              <a:rPr lang="it-IT" dirty="0" smtClean="0"/>
              <a:t>dei livelli </a:t>
            </a:r>
            <a:r>
              <a:rPr lang="it-IT" dirty="0" err="1" smtClean="0"/>
              <a:t>pre-Covid</a:t>
            </a:r>
            <a:endParaRPr lang="it-IT" b="0" dirty="0"/>
          </a:p>
        </p:txBody>
      </p:sp>
      <p:grpSp>
        <p:nvGrpSpPr>
          <p:cNvPr id="46" name="Gruppo 45">
            <a:extLst>
              <a:ext uri="{FF2B5EF4-FFF2-40B4-BE49-F238E27FC236}">
                <a16:creationId xmlns:a16="http://schemas.microsoft.com/office/drawing/2014/main" xmlns="" id="{59C821FE-C769-492D-A8B5-A352142A516E}"/>
              </a:ext>
            </a:extLst>
          </p:cNvPr>
          <p:cNvGrpSpPr/>
          <p:nvPr/>
        </p:nvGrpSpPr>
        <p:grpSpPr>
          <a:xfrm>
            <a:off x="220579" y="1193875"/>
            <a:ext cx="1099762" cy="294174"/>
            <a:chOff x="6254750" y="1890210"/>
            <a:chExt cx="2947988" cy="294960"/>
          </a:xfrm>
        </p:grpSpPr>
        <p:sp>
          <p:nvSpPr>
            <p:cNvPr id="47" name="Line 3">
              <a:extLst>
                <a:ext uri="{FF2B5EF4-FFF2-40B4-BE49-F238E27FC236}">
                  <a16:creationId xmlns:a16="http://schemas.microsoft.com/office/drawing/2014/main" xmlns="" id="{4FC9C40A-3EA5-48A0-AB98-F940D58317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54750" y="2185170"/>
              <a:ext cx="2947988" cy="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4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8" name="Text12">
              <a:extLst>
                <a:ext uri="{FF2B5EF4-FFF2-40B4-BE49-F238E27FC236}">
                  <a16:creationId xmlns:a16="http://schemas.microsoft.com/office/drawing/2014/main" xmlns="" id="{E2323CB2-B63B-4808-AC6E-478F6AC8DD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5224" y="1890210"/>
              <a:ext cx="2947039" cy="216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400" b="1" dirty="0" smtClean="0">
                  <a:solidFill>
                    <a:srgbClr val="000000"/>
                  </a:solidFill>
                </a:rPr>
                <a:t>Fonte</a:t>
              </a:r>
              <a:endParaRPr lang="it-IT" sz="14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0" name="Gruppo 49">
            <a:extLst>
              <a:ext uri="{FF2B5EF4-FFF2-40B4-BE49-F238E27FC236}">
                <a16:creationId xmlns:a16="http://schemas.microsoft.com/office/drawing/2014/main" xmlns="" id="{7BB77C15-B4A6-4811-9AF0-59E4A698D21D}"/>
              </a:ext>
            </a:extLst>
          </p:cNvPr>
          <p:cNvGrpSpPr/>
          <p:nvPr/>
        </p:nvGrpSpPr>
        <p:grpSpPr>
          <a:xfrm>
            <a:off x="1543318" y="1193876"/>
            <a:ext cx="1220926" cy="294173"/>
            <a:chOff x="6254750" y="1890211"/>
            <a:chExt cx="2947988" cy="294959"/>
          </a:xfrm>
        </p:grpSpPr>
        <p:sp>
          <p:nvSpPr>
            <p:cNvPr id="51" name="Line 3">
              <a:extLst>
                <a:ext uri="{FF2B5EF4-FFF2-40B4-BE49-F238E27FC236}">
                  <a16:creationId xmlns:a16="http://schemas.microsoft.com/office/drawing/2014/main" xmlns="" id="{B7DA5092-07C9-4AAA-9A01-C33C454CFE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54750" y="2185170"/>
              <a:ext cx="2947988" cy="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4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3" name="Text12">
              <a:extLst>
                <a:ext uri="{FF2B5EF4-FFF2-40B4-BE49-F238E27FC236}">
                  <a16:creationId xmlns:a16="http://schemas.microsoft.com/office/drawing/2014/main" xmlns="" id="{3B14D24D-0799-49B3-8E57-66B02B5C4D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5223" y="1890211"/>
              <a:ext cx="2947039" cy="216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400" b="1" dirty="0">
                  <a:solidFill>
                    <a:srgbClr val="000000"/>
                  </a:solidFill>
                </a:rPr>
                <a:t>Data di pubblicazione </a:t>
              </a:r>
            </a:p>
          </p:txBody>
        </p:sp>
      </p:grpSp>
      <p:grpSp>
        <p:nvGrpSpPr>
          <p:cNvPr id="54" name="Gruppo 53">
            <a:extLst>
              <a:ext uri="{FF2B5EF4-FFF2-40B4-BE49-F238E27FC236}">
                <a16:creationId xmlns:a16="http://schemas.microsoft.com/office/drawing/2014/main" xmlns="" id="{0D09254F-DE4B-46B1-A032-EFDC70A42446}"/>
              </a:ext>
            </a:extLst>
          </p:cNvPr>
          <p:cNvGrpSpPr/>
          <p:nvPr/>
        </p:nvGrpSpPr>
        <p:grpSpPr>
          <a:xfrm>
            <a:off x="2986721" y="1193875"/>
            <a:ext cx="6698701" cy="294174"/>
            <a:chOff x="6254750" y="1890210"/>
            <a:chExt cx="2947988" cy="294960"/>
          </a:xfrm>
        </p:grpSpPr>
        <p:sp>
          <p:nvSpPr>
            <p:cNvPr id="55" name="Line 3">
              <a:extLst>
                <a:ext uri="{FF2B5EF4-FFF2-40B4-BE49-F238E27FC236}">
                  <a16:creationId xmlns:a16="http://schemas.microsoft.com/office/drawing/2014/main" xmlns="" id="{3122A8B9-983F-449F-B73B-394D75D571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54750" y="2185170"/>
              <a:ext cx="2947988" cy="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4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6" name="Text12">
              <a:extLst>
                <a:ext uri="{FF2B5EF4-FFF2-40B4-BE49-F238E27FC236}">
                  <a16:creationId xmlns:a16="http://schemas.microsoft.com/office/drawing/2014/main" xmlns="" id="{692815A8-ED1C-4B1E-80A5-EEDD24D27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5224" y="1890210"/>
              <a:ext cx="2947040" cy="216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400" b="1" dirty="0">
                  <a:solidFill>
                    <a:srgbClr val="000000"/>
                  </a:solidFill>
                </a:rPr>
                <a:t>Outlook</a:t>
              </a:r>
            </a:p>
          </p:txBody>
        </p:sp>
      </p:grpSp>
      <p:sp>
        <p:nvSpPr>
          <p:cNvPr id="58" name="CasellaDiTesto 57">
            <a:extLst>
              <a:ext uri="{FF2B5EF4-FFF2-40B4-BE49-F238E27FC236}">
                <a16:creationId xmlns:a16="http://schemas.microsoft.com/office/drawing/2014/main" xmlns="" id="{1616BE39-7366-4AA7-8CF5-28B248FB6F1A}"/>
              </a:ext>
            </a:extLst>
          </p:cNvPr>
          <p:cNvSpPr txBox="1"/>
          <p:nvPr/>
        </p:nvSpPr>
        <p:spPr>
          <a:xfrm>
            <a:off x="1608745" y="2011961"/>
            <a:ext cx="1105312" cy="4616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1200"/>
              </a:spcAft>
            </a:pPr>
            <a:r>
              <a:rPr lang="it-IT" sz="1200" dirty="0">
                <a:solidFill>
                  <a:schemeClr val="tx1"/>
                </a:solidFill>
                <a:latin typeface="+mj-lt"/>
              </a:rPr>
              <a:t>30 luglio 2020</a:t>
            </a:r>
          </a:p>
        </p:txBody>
      </p:sp>
      <p:pic>
        <p:nvPicPr>
          <p:cNvPr id="59" name="Immagine 58">
            <a:extLst>
              <a:ext uri="{FF2B5EF4-FFF2-40B4-BE49-F238E27FC236}">
                <a16:creationId xmlns:a16="http://schemas.microsoft.com/office/drawing/2014/main" xmlns="" id="{4FB0C570-65BD-49A3-9744-A4BF1F31E6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31417" y="1549111"/>
            <a:ext cx="3529910" cy="1669445"/>
          </a:xfrm>
          <a:prstGeom prst="rect">
            <a:avLst/>
          </a:prstGeom>
        </p:spPr>
      </p:pic>
      <p:pic>
        <p:nvPicPr>
          <p:cNvPr id="61" name="Immagine 60">
            <a:extLst>
              <a:ext uri="{FF2B5EF4-FFF2-40B4-BE49-F238E27FC236}">
                <a16:creationId xmlns:a16="http://schemas.microsoft.com/office/drawing/2014/main" xmlns="" id="{E31FDD01-FEC2-48B2-8734-EE67FC8DE27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90575" y="3326915"/>
            <a:ext cx="3495560" cy="1693943"/>
          </a:xfrm>
          <a:prstGeom prst="rect">
            <a:avLst/>
          </a:prstGeom>
        </p:spPr>
      </p:pic>
      <p:pic>
        <p:nvPicPr>
          <p:cNvPr id="73738" name="Picture 10" descr="Airports Council International - Wikipedia">
            <a:extLst>
              <a:ext uri="{FF2B5EF4-FFF2-40B4-BE49-F238E27FC236}">
                <a16:creationId xmlns:a16="http://schemas.microsoft.com/office/drawing/2014/main" xmlns="" id="{AFA32E77-65C0-4361-86F3-1BEBE3938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66" y="5179189"/>
            <a:ext cx="811945" cy="1009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6">
            <a:extLst>
              <a:ext uri="{FF2B5EF4-FFF2-40B4-BE49-F238E27FC236}">
                <a16:creationId xmlns:a16="http://schemas.microsoft.com/office/drawing/2014/main" xmlns="" id="{90BAA5D8-2947-41FD-8362-6E5A8C6325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79" y="1596067"/>
            <a:ext cx="1099762" cy="109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8" descr="Eurocontrol - Wikipedia">
            <a:extLst>
              <a:ext uri="{FF2B5EF4-FFF2-40B4-BE49-F238E27FC236}">
                <a16:creationId xmlns:a16="http://schemas.microsoft.com/office/drawing/2014/main" xmlns="" id="{2276E46E-2EF1-4445-9F05-4C80E5565D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03" y="3584810"/>
            <a:ext cx="1089986" cy="110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8" name="Straight Connector 26">
            <a:extLst>
              <a:ext uri="{FF2B5EF4-FFF2-40B4-BE49-F238E27FC236}">
                <a16:creationId xmlns:a16="http://schemas.microsoft.com/office/drawing/2014/main" xmlns="" id="{3BBD5D47-ACC6-44A9-93C1-8520FE970518}"/>
              </a:ext>
            </a:extLst>
          </p:cNvPr>
          <p:cNvCxnSpPr>
            <a:cxnSpLocks/>
            <a:endCxn id="139" idx="0"/>
          </p:cNvCxnSpPr>
          <p:nvPr/>
        </p:nvCxnSpPr>
        <p:spPr>
          <a:xfrm>
            <a:off x="5962280" y="2547579"/>
            <a:ext cx="392538" cy="232253"/>
          </a:xfrm>
          <a:prstGeom prst="straightConnector1">
            <a:avLst/>
          </a:prstGeom>
          <a:noFill/>
          <a:ln w="19050" cap="rnd" cmpd="sng" algn="ctr">
            <a:solidFill>
              <a:schemeClr val="accent5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139" name="TextBox 140">
            <a:extLst>
              <a:ext uri="{FF2B5EF4-FFF2-40B4-BE49-F238E27FC236}">
                <a16:creationId xmlns:a16="http://schemas.microsoft.com/office/drawing/2014/main" xmlns="" id="{2690AAE5-0939-4CDB-8C41-6FE50D6CD206}"/>
              </a:ext>
            </a:extLst>
          </p:cNvPr>
          <p:cNvSpPr txBox="1"/>
          <p:nvPr/>
        </p:nvSpPr>
        <p:spPr>
          <a:xfrm>
            <a:off x="5848309" y="2779832"/>
            <a:ext cx="1013018" cy="248846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rgbClr val="537B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3156" lvl="1">
              <a:buClr>
                <a:srgbClr val="000000">
                  <a:lumMod val="100000"/>
                </a:srgbClr>
              </a:buClr>
              <a:buSzPct val="100000"/>
            </a:pPr>
            <a:r>
              <a:rPr lang="it-IT" sz="8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Area di incertezza</a:t>
            </a:r>
          </a:p>
        </p:txBody>
      </p:sp>
      <p:sp>
        <p:nvSpPr>
          <p:cNvPr id="140" name="CasellaDiTesto 139">
            <a:extLst>
              <a:ext uri="{FF2B5EF4-FFF2-40B4-BE49-F238E27FC236}">
                <a16:creationId xmlns:a16="http://schemas.microsoft.com/office/drawing/2014/main" xmlns="" id="{8B8809F0-49F1-4582-B16C-32E147C3EF18}"/>
              </a:ext>
            </a:extLst>
          </p:cNvPr>
          <p:cNvSpPr txBox="1"/>
          <p:nvPr/>
        </p:nvSpPr>
        <p:spPr>
          <a:xfrm>
            <a:off x="1608745" y="3771236"/>
            <a:ext cx="990047" cy="6463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1200"/>
              </a:spcAft>
            </a:pPr>
            <a:r>
              <a:rPr lang="it-IT" sz="1200" dirty="0">
                <a:solidFill>
                  <a:schemeClr val="tx1"/>
                </a:solidFill>
                <a:latin typeface="+mj-lt"/>
              </a:rPr>
              <a:t>14 settembre 2020</a:t>
            </a:r>
          </a:p>
        </p:txBody>
      </p:sp>
      <p:cxnSp>
        <p:nvCxnSpPr>
          <p:cNvPr id="12" name="Connettore diritto 11">
            <a:extLst>
              <a:ext uri="{FF2B5EF4-FFF2-40B4-BE49-F238E27FC236}">
                <a16:creationId xmlns:a16="http://schemas.microsoft.com/office/drawing/2014/main" xmlns="" id="{5C42EE0F-1FA3-43D3-9F3D-9596D9A1DAEA}"/>
              </a:ext>
            </a:extLst>
          </p:cNvPr>
          <p:cNvCxnSpPr>
            <a:cxnSpLocks/>
          </p:cNvCxnSpPr>
          <p:nvPr/>
        </p:nvCxnSpPr>
        <p:spPr>
          <a:xfrm>
            <a:off x="420664" y="3277353"/>
            <a:ext cx="9094528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2" name="Connettore diritto 141">
            <a:extLst>
              <a:ext uri="{FF2B5EF4-FFF2-40B4-BE49-F238E27FC236}">
                <a16:creationId xmlns:a16="http://schemas.microsoft.com/office/drawing/2014/main" xmlns="" id="{37CA7C9C-DE9C-451C-8C2D-A43457B4DAC8}"/>
              </a:ext>
            </a:extLst>
          </p:cNvPr>
          <p:cNvCxnSpPr>
            <a:cxnSpLocks/>
          </p:cNvCxnSpPr>
          <p:nvPr/>
        </p:nvCxnSpPr>
        <p:spPr>
          <a:xfrm>
            <a:off x="405736" y="4934137"/>
            <a:ext cx="9094528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43" name="CasellaDiTesto 142">
            <a:extLst>
              <a:ext uri="{FF2B5EF4-FFF2-40B4-BE49-F238E27FC236}">
                <a16:creationId xmlns:a16="http://schemas.microsoft.com/office/drawing/2014/main" xmlns="" id="{6DBB57C7-5EC1-4D89-AF35-2C101A764985}"/>
              </a:ext>
            </a:extLst>
          </p:cNvPr>
          <p:cNvSpPr txBox="1"/>
          <p:nvPr/>
        </p:nvSpPr>
        <p:spPr>
          <a:xfrm>
            <a:off x="1608745" y="5613081"/>
            <a:ext cx="990047" cy="4616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1200"/>
              </a:spcAft>
            </a:pPr>
            <a:r>
              <a:rPr lang="it-IT" sz="1200" dirty="0">
                <a:solidFill>
                  <a:schemeClr val="tx1"/>
                </a:solidFill>
                <a:latin typeface="+mj-lt"/>
              </a:rPr>
              <a:t>6 ottobre 2020</a:t>
            </a:r>
          </a:p>
        </p:txBody>
      </p:sp>
      <p:cxnSp>
        <p:nvCxnSpPr>
          <p:cNvPr id="8" name="Connettore 2 7"/>
          <p:cNvCxnSpPr/>
          <p:nvPr/>
        </p:nvCxnSpPr>
        <p:spPr>
          <a:xfrm>
            <a:off x="5589382" y="3943350"/>
            <a:ext cx="0" cy="291084"/>
          </a:xfrm>
          <a:prstGeom prst="straightConnector1">
            <a:avLst/>
          </a:prstGeom>
          <a:ln w="9525" cap="rnd">
            <a:solidFill>
              <a:schemeClr val="tx2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ttore 2 56"/>
          <p:cNvCxnSpPr/>
          <p:nvPr/>
        </p:nvCxnSpPr>
        <p:spPr>
          <a:xfrm>
            <a:off x="6058801" y="3971925"/>
            <a:ext cx="0" cy="291084"/>
          </a:xfrm>
          <a:prstGeom prst="straightConnector1">
            <a:avLst/>
          </a:prstGeom>
          <a:ln w="9525" cap="rnd">
            <a:solidFill>
              <a:schemeClr val="tx2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magine 6">
            <a:extLst>
              <a:ext uri="{FF2B5EF4-FFF2-40B4-BE49-F238E27FC236}">
                <a16:creationId xmlns:a16="http://schemas.microsoft.com/office/drawing/2014/main" xmlns="" id="{181D507D-7E56-4A11-A28B-50E8C8DD762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59426" y="5014485"/>
            <a:ext cx="3609325" cy="1660357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xmlns="" id="{D26D2A9E-D619-42CE-87A9-DC166E19C640}"/>
              </a:ext>
            </a:extLst>
          </p:cNvPr>
          <p:cNvSpPr txBox="1"/>
          <p:nvPr/>
        </p:nvSpPr>
        <p:spPr>
          <a:xfrm>
            <a:off x="7392476" y="1596067"/>
            <a:ext cx="2122716" cy="15014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2020 atteso tra </a:t>
            </a:r>
            <a:r>
              <a:rPr lang="it-IT" sz="1200" dirty="0" smtClean="0">
                <a:solidFill>
                  <a:schemeClr val="tx1"/>
                </a:solidFill>
              </a:rPr>
              <a:t>-60</a:t>
            </a:r>
            <a:r>
              <a:rPr lang="it-IT" sz="1200" dirty="0">
                <a:solidFill>
                  <a:schemeClr val="tx1"/>
                </a:solidFill>
              </a:rPr>
              <a:t>% </a:t>
            </a:r>
            <a:r>
              <a:rPr lang="it-IT" sz="1200" dirty="0" smtClean="0">
                <a:solidFill>
                  <a:schemeClr val="tx1"/>
                </a:solidFill>
              </a:rPr>
              <a:t>e -</a:t>
            </a:r>
            <a:r>
              <a:rPr lang="it-IT" sz="1200" dirty="0">
                <a:solidFill>
                  <a:schemeClr val="tx1"/>
                </a:solidFill>
              </a:rPr>
              <a:t>70% vs il </a:t>
            </a:r>
            <a:r>
              <a:rPr lang="it-IT" sz="1200" dirty="0" smtClean="0">
                <a:solidFill>
                  <a:schemeClr val="tx1"/>
                </a:solidFill>
              </a:rPr>
              <a:t>2019 (tendenziale in </a:t>
            </a:r>
            <a:r>
              <a:rPr lang="it-IT" sz="1200" dirty="0">
                <a:solidFill>
                  <a:schemeClr val="tx1"/>
                </a:solidFill>
              </a:rPr>
              <a:t>peggiorament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Recupero delle performance 2019 non prima del 2024</a:t>
            </a: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xmlns="" id="{B7337660-EAE1-48BD-B0B9-B6B18D23E145}"/>
              </a:ext>
            </a:extLst>
          </p:cNvPr>
          <p:cNvSpPr txBox="1"/>
          <p:nvPr/>
        </p:nvSpPr>
        <p:spPr>
          <a:xfrm>
            <a:off x="7408242" y="5045886"/>
            <a:ext cx="2122716" cy="15014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2020 atteso </a:t>
            </a:r>
            <a:r>
              <a:rPr lang="it-IT" sz="1200" dirty="0" smtClean="0">
                <a:solidFill>
                  <a:schemeClr val="tx1"/>
                </a:solidFill>
              </a:rPr>
              <a:t>a -70</a:t>
            </a:r>
            <a:r>
              <a:rPr lang="it-IT" sz="1200" dirty="0">
                <a:solidFill>
                  <a:schemeClr val="tx1"/>
                </a:solidFill>
              </a:rPr>
              <a:t>% vs il 2019 </a:t>
            </a:r>
            <a:r>
              <a:rPr lang="it-IT" sz="1200" dirty="0" smtClean="0">
                <a:solidFill>
                  <a:schemeClr val="tx1"/>
                </a:solidFill>
              </a:rPr>
              <a:t>(tendenziale in </a:t>
            </a:r>
            <a:r>
              <a:rPr lang="it-IT" sz="1200" dirty="0">
                <a:solidFill>
                  <a:schemeClr val="tx1"/>
                </a:solidFill>
              </a:rPr>
              <a:t>peggiorament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Recupero delle performance 2019 non prima del 2024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xmlns="" id="{B980434A-78A9-468C-9B5F-1661B6D195DD}"/>
              </a:ext>
            </a:extLst>
          </p:cNvPr>
          <p:cNvSpPr txBox="1"/>
          <p:nvPr/>
        </p:nvSpPr>
        <p:spPr>
          <a:xfrm>
            <a:off x="7392476" y="3330352"/>
            <a:ext cx="2122716" cy="15014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2020 atteso al -55% vs il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Per i prossimi mesi atteso traffico </a:t>
            </a:r>
            <a:r>
              <a:rPr lang="it-IT" sz="1200" dirty="0" smtClean="0">
                <a:solidFill>
                  <a:schemeClr val="tx1"/>
                </a:solidFill>
              </a:rPr>
              <a:t>in </a:t>
            </a:r>
            <a:r>
              <a:rPr lang="it-IT" sz="1200" dirty="0">
                <a:solidFill>
                  <a:schemeClr val="tx1"/>
                </a:solidFill>
              </a:rPr>
              <a:t>linea con i dati di settembre (nessun incremento previsto) </a:t>
            </a:r>
          </a:p>
        </p:txBody>
      </p:sp>
    </p:spTree>
    <p:extLst>
      <p:ext uri="{BB962C8B-B14F-4D97-AF65-F5344CB8AC3E}">
        <p14:creationId xmlns:p14="http://schemas.microsoft.com/office/powerpoint/2010/main" val="384675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C4A0E478-ACC3-4707-883C-3BBAE464DB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4" name="Diapositiva think-cell" r:id="rId5" imgW="347" imgH="348" progId="TCLayout.ActiveDocument.1">
                  <p:embed/>
                </p:oleObj>
              </mc:Choice>
              <mc:Fallback>
                <p:oleObj name="Diapositiva think-cell" r:id="rId5" imgW="347" imgH="348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xmlns="" id="{C4A0E478-ACC3-4707-883C-3BBAE464DB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CBABC029-E03E-4938-9632-10ECF1A1FD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4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xmlns="" id="{55C63F8F-B6E8-47C0-B088-A9BE569F6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09" y="335285"/>
            <a:ext cx="8691727" cy="467867"/>
          </a:xfrm>
        </p:spPr>
        <p:txBody>
          <a:bodyPr/>
          <a:lstStyle/>
          <a:p>
            <a:r>
              <a:rPr lang="it-IT" dirty="0"/>
              <a:t>L’impegno assoluto di ADR per prevenzione e sicurezza dei passeggeri 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xmlns="" id="{56507842-4582-48A5-8306-8D9AAAD6DB98}"/>
              </a:ext>
            </a:extLst>
          </p:cNvPr>
          <p:cNvSpPr/>
          <p:nvPr/>
        </p:nvSpPr>
        <p:spPr>
          <a:xfrm>
            <a:off x="331689" y="3402028"/>
            <a:ext cx="2147510" cy="122684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Test rapidi a FCO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xmlns="" id="{48D925CB-6447-4FA8-82B2-3C100C11BB32}"/>
              </a:ext>
            </a:extLst>
          </p:cNvPr>
          <p:cNvSpPr/>
          <p:nvPr/>
        </p:nvSpPr>
        <p:spPr>
          <a:xfrm>
            <a:off x="331689" y="4841125"/>
            <a:ext cx="2147510" cy="1632934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Promozione modello voli «</a:t>
            </a:r>
            <a:r>
              <a:rPr lang="it-IT" sz="1400" b="1" dirty="0" err="1">
                <a:solidFill>
                  <a:srgbClr val="FFFFFF"/>
                </a:solidFill>
              </a:rPr>
              <a:t>Covid-tested</a:t>
            </a:r>
            <a:r>
              <a:rPr lang="it-IT" sz="1400" b="1" dirty="0">
                <a:solidFill>
                  <a:srgbClr val="FFFFFF"/>
                </a:solidFill>
              </a:rPr>
              <a:t>»</a:t>
            </a: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xmlns="" id="{CAC4A774-D684-4DC9-9297-7DA0C2FB7F0B}"/>
              </a:ext>
            </a:extLst>
          </p:cNvPr>
          <p:cNvSpPr/>
          <p:nvPr/>
        </p:nvSpPr>
        <p:spPr>
          <a:xfrm>
            <a:off x="2707246" y="5258217"/>
            <a:ext cx="6745513" cy="113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0" bIns="45709" rtlCol="0" anchor="t"/>
          <a:lstStyle/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ADR sta promuovendo la sperimentazione di un modello che mira alla facilitazione della «</a:t>
            </a:r>
            <a:r>
              <a:rPr lang="it-IT" sz="1400" dirty="0" err="1">
                <a:solidFill>
                  <a:srgbClr val="000000"/>
                </a:solidFill>
                <a:cs typeface="Calibri" panose="020F0502020204030204" pitchFamily="34" charset="0"/>
              </a:rPr>
              <a:t>travel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dirty="0" err="1">
                <a:solidFill>
                  <a:srgbClr val="000000"/>
                </a:solidFill>
                <a:cs typeface="Calibri" panose="020F0502020204030204" pitchFamily="34" charset="0"/>
              </a:rPr>
              <a:t>experience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» ed al tempo stesso salvaguarda i criteri di sicurezza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it-IT" sz="14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xmlns="" id="{50C17287-0B28-43AF-88E9-9E68E16B4104}"/>
              </a:ext>
            </a:extLst>
          </p:cNvPr>
          <p:cNvSpPr/>
          <p:nvPr/>
        </p:nvSpPr>
        <p:spPr>
          <a:xfrm>
            <a:off x="331689" y="1163014"/>
            <a:ext cx="2147510" cy="19758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Attivate molteplici misure di prevenzione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xmlns="" id="{852C2A21-F16A-4C7A-B851-4A0F9E08B2B1}"/>
              </a:ext>
            </a:extLst>
          </p:cNvPr>
          <p:cNvSpPr/>
          <p:nvPr/>
        </p:nvSpPr>
        <p:spPr>
          <a:xfrm>
            <a:off x="2707246" y="1318499"/>
            <a:ext cx="6772034" cy="15529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0" bIns="45709" rtlCol="0" anchor="t"/>
          <a:lstStyle/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Profonda attività di sanificazione, screening temperature, efficace comunicazione ai passeggeri di istruzioni per il distanziamento , installazione pervasiva in aree sensibili di schermi protettivi in plexiglass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Negli ultimi mesi il forte impegno di ADR ha trovato riconoscimento in importanti certificazioni di primarie istituzioni internazionali (</a:t>
            </a:r>
            <a:r>
              <a:rPr lang="it-IT" sz="1400" dirty="0" err="1">
                <a:solidFill>
                  <a:srgbClr val="000000"/>
                </a:solidFill>
                <a:cs typeface="Calibri" panose="020F0502020204030204" pitchFamily="34" charset="0"/>
              </a:rPr>
              <a:t>Skytrax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, RINA, ACI)  </a:t>
            </a:r>
            <a:endParaRPr lang="it-IT" sz="1400" b="1" i="1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xmlns="" id="{852C2A21-F16A-4C7A-B851-4A0F9E08B2B1}"/>
              </a:ext>
            </a:extLst>
          </p:cNvPr>
          <p:cNvSpPr/>
          <p:nvPr/>
        </p:nvSpPr>
        <p:spPr>
          <a:xfrm>
            <a:off x="2707246" y="3640214"/>
            <a:ext cx="6772034" cy="7573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0" bIns="45709" rtlCol="0" anchor="t"/>
          <a:lstStyle/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Sottoporre un elevato numero di persone a screening Covid-19 a costo basso e con tempi di risposta rapidi è possibile e rappresenta una delle modalità per il rilancio del traffico in condizioni di massima sicurezza</a:t>
            </a:r>
          </a:p>
        </p:txBody>
      </p:sp>
    </p:spTree>
    <p:extLst>
      <p:ext uri="{BB962C8B-B14F-4D97-AF65-F5344CB8AC3E}">
        <p14:creationId xmlns:p14="http://schemas.microsoft.com/office/powerpoint/2010/main" val="333259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C4A0E478-ACC3-4707-883C-3BBAE464DB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95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21" name="Diapositiva think-cell" r:id="rId5" imgW="347" imgH="348" progId="TCLayout.ActiveDocument.1">
                  <p:embed/>
                </p:oleObj>
              </mc:Choice>
              <mc:Fallback>
                <p:oleObj name="Diapositiva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CBABC029-E03E-4938-9632-10ECF1A1FD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4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="" xmlns:a16="http://schemas.microsoft.com/office/drawing/2014/main" id="{55C63F8F-B6E8-47C0-B088-A9BE569F6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ttivate molteplici misure di </a:t>
            </a:r>
            <a:r>
              <a:rPr lang="it-IT" dirty="0"/>
              <a:t>prevenzione per garantire la sicurezza dei passeggeri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="" xmlns:a16="http://schemas.microsoft.com/office/drawing/2014/main" id="{56507842-4582-48A5-8306-8D9AAAD6DB98}"/>
              </a:ext>
            </a:extLst>
          </p:cNvPr>
          <p:cNvSpPr/>
          <p:nvPr/>
        </p:nvSpPr>
        <p:spPr>
          <a:xfrm>
            <a:off x="353766" y="1113371"/>
            <a:ext cx="2147510" cy="92174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 smtClean="0">
                <a:solidFill>
                  <a:srgbClr val="FFFFFF"/>
                </a:solidFill>
              </a:rPr>
              <a:t>Sanificazione</a:t>
            </a:r>
            <a:endParaRPr lang="it-IT" sz="1400" b="1" dirty="0">
              <a:solidFill>
                <a:srgbClr val="FFFFFF"/>
              </a:solidFill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="" xmlns:a16="http://schemas.microsoft.com/office/drawing/2014/main" id="{48D925CB-6447-4FA8-82B2-3C100C11BB32}"/>
              </a:ext>
            </a:extLst>
          </p:cNvPr>
          <p:cNvSpPr/>
          <p:nvPr/>
        </p:nvSpPr>
        <p:spPr>
          <a:xfrm>
            <a:off x="316450" y="4188592"/>
            <a:ext cx="2147510" cy="1349532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Distanziamento sociale</a:t>
            </a:r>
          </a:p>
        </p:txBody>
      </p:sp>
      <p:sp>
        <p:nvSpPr>
          <p:cNvPr id="28" name="Rettangolo 27">
            <a:extLst>
              <a:ext uri="{FF2B5EF4-FFF2-40B4-BE49-F238E27FC236}">
                <a16:creationId xmlns="" xmlns:a16="http://schemas.microsoft.com/office/drawing/2014/main" id="{CAC4A774-D684-4DC9-9297-7DA0C2FB7F0B}"/>
              </a:ext>
            </a:extLst>
          </p:cNvPr>
          <p:cNvSpPr/>
          <p:nvPr/>
        </p:nvSpPr>
        <p:spPr>
          <a:xfrm>
            <a:off x="2733769" y="4154208"/>
            <a:ext cx="6745513" cy="1134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0" bIns="45709" rtlCol="0" anchor="t"/>
          <a:lstStyle/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Segnaletica </a:t>
            </a: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di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distanziamento sociale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Annuncio altoparlante ogni 15 minuti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Personale istruito per far rispettare distanziamento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Riduzione delle sedute e degli spazi di attesa</a:t>
            </a:r>
            <a:endParaRPr lang="it-IT" sz="1400" b="1" i="1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it-IT" sz="1400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it-IT" sz="14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="" xmlns:a16="http://schemas.microsoft.com/office/drawing/2014/main" id="{F0F7E2AD-B144-4382-A94F-A116B7C6C624}"/>
              </a:ext>
            </a:extLst>
          </p:cNvPr>
          <p:cNvSpPr/>
          <p:nvPr/>
        </p:nvSpPr>
        <p:spPr>
          <a:xfrm>
            <a:off x="313581" y="5720367"/>
            <a:ext cx="2147510" cy="83795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rgbClr val="FFFFFF"/>
                </a:solidFill>
              </a:rPr>
              <a:t>Schermi di protezione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="" xmlns:a16="http://schemas.microsoft.com/office/drawing/2014/main" id="{D56E7F21-EBC8-4D73-A08E-73662779E604}"/>
              </a:ext>
            </a:extLst>
          </p:cNvPr>
          <p:cNvSpPr/>
          <p:nvPr/>
        </p:nvSpPr>
        <p:spPr>
          <a:xfrm>
            <a:off x="2746141" y="5965519"/>
            <a:ext cx="6733140" cy="714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0" bIns="45709" rtlCol="0" anchor="t"/>
          <a:lstStyle/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Schermi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di protezione in plexiglas al check-in, biglietteria, banchi informativi, controllo passaporti</a:t>
            </a:r>
            <a:endParaRPr lang="it-IT" sz="1400" b="1" i="1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="" xmlns:a16="http://schemas.microsoft.com/office/drawing/2014/main" id="{50C17287-0B28-43AF-88E9-9E68E16B4104}"/>
              </a:ext>
            </a:extLst>
          </p:cNvPr>
          <p:cNvSpPr/>
          <p:nvPr/>
        </p:nvSpPr>
        <p:spPr>
          <a:xfrm>
            <a:off x="335473" y="2211098"/>
            <a:ext cx="2147510" cy="1796225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 smtClean="0">
                <a:solidFill>
                  <a:srgbClr val="FFFFFF"/>
                </a:solidFill>
              </a:rPr>
              <a:t>Screening con Termo </a:t>
            </a:r>
            <a:r>
              <a:rPr lang="it-IT" sz="1400" b="1" dirty="0">
                <a:solidFill>
                  <a:srgbClr val="FFFFFF"/>
                </a:solidFill>
              </a:rPr>
              <a:t>Scanner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="" xmlns:a16="http://schemas.microsoft.com/office/drawing/2014/main" id="{852C2A21-F16A-4C7A-B851-4A0F9E08B2B1}"/>
              </a:ext>
            </a:extLst>
          </p:cNvPr>
          <p:cNvSpPr/>
          <p:nvPr/>
        </p:nvSpPr>
        <p:spPr>
          <a:xfrm>
            <a:off x="2707246" y="2260165"/>
            <a:ext cx="6772034" cy="20669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0" bIns="45709" rtlCol="0" anchor="t"/>
          <a:lstStyle/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Sistema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di screening della temperatura corporea di imaging termico a infrarossi </a:t>
            </a: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installato a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FCO dal 5 febbraio </a:t>
            </a: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per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prevenire la diffusione del </a:t>
            </a: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virus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La tecnologia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consente un rilevamento della temperatura del viso in tempo reale </a:t>
            </a: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(fino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a 16 temperature </a:t>
            </a: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contemporaneamente)</a:t>
            </a:r>
            <a:endParaRPr lang="it-IT" sz="1400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«Smart </a:t>
            </a:r>
            <a:r>
              <a:rPr lang="it-IT" sz="1400" dirty="0" err="1" smtClean="0">
                <a:solidFill>
                  <a:srgbClr val="000000"/>
                </a:solidFill>
                <a:cs typeface="Calibri" panose="020F0502020204030204" pitchFamily="34" charset="0"/>
              </a:rPr>
              <a:t>Helmet</a:t>
            </a: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» che consente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al personale aeroportuale di monitorare e misurare la temperatura corporea dei passeggeri a distanza camminando in </a:t>
            </a:r>
            <a:r>
              <a:rPr lang="it-IT" sz="1400" dirty="0" smtClean="0">
                <a:solidFill>
                  <a:srgbClr val="000000"/>
                </a:solidFill>
                <a:cs typeface="Calibri" panose="020F0502020204030204" pitchFamily="34" charset="0"/>
              </a:rPr>
              <a:t>aeroporto</a:t>
            </a:r>
            <a:endParaRPr lang="it-IT" sz="1400" b="1" i="1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33" name="Rettangolo 32">
            <a:extLst>
              <a:ext uri="{FF2B5EF4-FFF2-40B4-BE49-F238E27FC236}">
                <a16:creationId xmlns="" xmlns:a16="http://schemas.microsoft.com/office/drawing/2014/main" id="{852C2A21-F16A-4C7A-B851-4A0F9E08B2B1}"/>
              </a:ext>
            </a:extLst>
          </p:cNvPr>
          <p:cNvSpPr/>
          <p:nvPr/>
        </p:nvSpPr>
        <p:spPr>
          <a:xfrm>
            <a:off x="2707246" y="1071445"/>
            <a:ext cx="6772034" cy="20669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0" bIns="45709" rtlCol="0" anchor="t"/>
          <a:lstStyle/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Più di 300 gel dispenser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Continua sanificazione di tutte le aree del terminal, dei carrelli portabagagli, servizi igienici, cestini presenti ai controlli di sicurezza, sistema nastri bagagli, scale mobili, ascensori</a:t>
            </a:r>
          </a:p>
        </p:txBody>
      </p:sp>
    </p:spTree>
    <p:extLst>
      <p:ext uri="{BB962C8B-B14F-4D97-AF65-F5344CB8AC3E}">
        <p14:creationId xmlns:p14="http://schemas.microsoft.com/office/powerpoint/2010/main" val="522606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ggetto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34" y="1613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33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11" name="Oggetto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34" y="1613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/>
          <p:cNvSpPr/>
          <p:nvPr>
            <p:custDataLst>
              <p:tags r:id="rId3"/>
            </p:custDataLst>
          </p:nvPr>
        </p:nvSpPr>
        <p:spPr bwMode="auto">
          <a:xfrm>
            <a:off x="10" y="0"/>
            <a:ext cx="171979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it-IT" sz="2400" b="1" dirty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73" name="Rectangle 4"/>
          <p:cNvSpPr>
            <a:spLocks noChangeArrowheads="1"/>
          </p:cNvSpPr>
          <p:nvPr/>
        </p:nvSpPr>
        <p:spPr bwMode="auto">
          <a:xfrm>
            <a:off x="3" y="0"/>
            <a:ext cx="9057519" cy="391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 anchorCtr="0"/>
          <a:lstStyle>
            <a:lvl1pPr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altLang="it-IT" sz="2000" b="1" u="sng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47330" y="179782"/>
            <a:ext cx="8691727" cy="733816"/>
          </a:xfrm>
        </p:spPr>
        <p:txBody>
          <a:bodyPr vert="horz" wrap="square" lIns="0" tIns="0" rIns="0" bIns="0" rtlCol="0" anchor="b">
            <a:noAutofit/>
          </a:bodyPr>
          <a:lstStyle/>
          <a:p>
            <a:r>
              <a:rPr lang="it-IT" dirty="0"/>
              <a:t>ADR prima al mondo certificata </a:t>
            </a:r>
            <a:r>
              <a:rPr lang="it-IT" dirty="0" err="1"/>
              <a:t>Biosafety</a:t>
            </a:r>
            <a:r>
              <a:rPr lang="it-IT" dirty="0"/>
              <a:t> Trust e prima in UE per </a:t>
            </a:r>
            <a:r>
              <a:rPr lang="it-IT" altLang="it-IT" dirty="0" err="1">
                <a:solidFill>
                  <a:srgbClr val="000000"/>
                </a:solidFill>
                <a:cs typeface="Arial" charset="0"/>
              </a:rPr>
              <a:t>Airport</a:t>
            </a:r>
            <a:r>
              <a:rPr lang="it-IT" altLang="it-IT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it-IT" altLang="it-IT" dirty="0" err="1">
                <a:solidFill>
                  <a:srgbClr val="000000"/>
                </a:solidFill>
                <a:cs typeface="Arial" charset="0"/>
              </a:rPr>
              <a:t>Health</a:t>
            </a:r>
            <a:r>
              <a:rPr lang="it-IT" altLang="it-IT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it-IT" altLang="it-IT" dirty="0" err="1">
                <a:solidFill>
                  <a:srgbClr val="000000"/>
                </a:solidFill>
                <a:cs typeface="Arial" charset="0"/>
              </a:rPr>
              <a:t>Accreditation</a:t>
            </a:r>
            <a:r>
              <a:rPr lang="it-IT" altLang="it-IT" dirty="0">
                <a:solidFill>
                  <a:srgbClr val="000000"/>
                </a:solidFill>
                <a:cs typeface="Arial" charset="0"/>
              </a:rPr>
              <a:t> di ACI </a:t>
            </a:r>
            <a:r>
              <a:rPr lang="it-IT" dirty="0"/>
              <a:t> </a:t>
            </a: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xmlns="" id="{B22BBC31-308B-4ACA-89C3-CBE32BC95E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5297" y="1226651"/>
            <a:ext cx="6791865" cy="482245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38958" rIns="76689" bIns="38958" numCol="1" anchor="t" anchorCtr="0" compatLnSpc="1">
            <a:prstTxWarp prst="textNoShape">
              <a:avLst/>
            </a:prstTxWarp>
          </a:bodyPr>
          <a:lstStyle/>
          <a:p>
            <a:pPr marL="176140" lvl="1" indent="-176140" algn="just" defTabSz="912552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li aeroporti di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iumicino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e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iampino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ono stati i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imi al mondo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d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ttenere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a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ertificazione </a:t>
            </a:r>
            <a:r>
              <a:rPr kumimoji="0" lang="it-IT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iosafety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rust</a:t>
            </a:r>
            <a:r>
              <a:rPr lang="it-IT" sz="1400" kern="0" dirty="0">
                <a:solidFill>
                  <a:srgbClr val="000000"/>
                </a:solidFill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ilasciata dall'organismo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 certificazione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INA Services</a:t>
            </a:r>
            <a:r>
              <a:rPr lang="it-IT" sz="1400" kern="0" dirty="0">
                <a:solidFill>
                  <a:srgbClr val="000000"/>
                </a:solidFill>
              </a:rPr>
              <a:t> (ISO 31000 – </a:t>
            </a:r>
            <a:r>
              <a:rPr lang="it-IT" sz="1400" kern="0" dirty="0" err="1">
                <a:solidFill>
                  <a:srgbClr val="000000"/>
                </a:solidFill>
              </a:rPr>
              <a:t>risk</a:t>
            </a:r>
            <a:r>
              <a:rPr lang="it-IT" sz="1400" kern="0" dirty="0">
                <a:solidFill>
                  <a:srgbClr val="000000"/>
                </a:solidFill>
              </a:rPr>
              <a:t> management e ISO 22301 – business </a:t>
            </a:r>
            <a:r>
              <a:rPr lang="it-IT" sz="1400" kern="0" dirty="0" err="1">
                <a:solidFill>
                  <a:srgbClr val="000000"/>
                </a:solidFill>
              </a:rPr>
              <a:t>continuity</a:t>
            </a:r>
            <a:r>
              <a:rPr lang="it-IT" sz="1400" kern="0" dirty="0">
                <a:solidFill>
                  <a:srgbClr val="000000"/>
                </a:solidFill>
              </a:rPr>
              <a:t>) successivamente a verifiche sul campo del funzionamento del Sistema di Gestione per la Prevenzione e il Controllo delle Infezioni che ADR ha implementato per contenere la diffusione di agenti patogeni (fino a quelli più nocivi come Ebola, </a:t>
            </a:r>
            <a:r>
              <a:rPr lang="it-IT" sz="1400" kern="0" dirty="0" err="1">
                <a:solidFill>
                  <a:srgbClr val="000000"/>
                </a:solidFill>
              </a:rPr>
              <a:t>Bacillus</a:t>
            </a:r>
            <a:r>
              <a:rPr lang="it-IT" sz="1400" kern="0" dirty="0">
                <a:solidFill>
                  <a:srgbClr val="000000"/>
                </a:solidFill>
              </a:rPr>
              <a:t> </a:t>
            </a:r>
            <a:r>
              <a:rPr lang="it-IT" sz="1400" kern="0" dirty="0" err="1">
                <a:solidFill>
                  <a:srgbClr val="000000"/>
                </a:solidFill>
              </a:rPr>
              <a:t>Anthracis</a:t>
            </a:r>
            <a:r>
              <a:rPr lang="it-IT" sz="1400" kern="0" dirty="0">
                <a:solidFill>
                  <a:srgbClr val="000000"/>
                </a:solidFill>
              </a:rPr>
              <a:t> e Sars-Cov2)</a:t>
            </a:r>
          </a:p>
          <a:p>
            <a:pPr marL="176140" lvl="1" indent="-176140" algn="just" defTabSz="912552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  <a:p>
            <a:pPr marL="176140" lvl="1" indent="-176140" algn="just" defTabSz="912552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endParaRPr lang="it-IT" sz="1400" b="1" kern="0" dirty="0">
              <a:solidFill>
                <a:srgbClr val="000000"/>
              </a:solidFill>
              <a:cs typeface="Arial" pitchFamily="34" charset="0"/>
            </a:endParaRPr>
          </a:p>
          <a:p>
            <a:pPr marL="176140" lvl="1" indent="-176140" algn="just" defTabSz="912552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endParaRPr lang="it-IT" sz="1400" b="1" kern="0" dirty="0">
              <a:solidFill>
                <a:srgbClr val="000000"/>
              </a:solidFill>
              <a:cs typeface="Arial" pitchFamily="34" charset="0"/>
            </a:endParaRP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Il 20 Agosto </a:t>
            </a:r>
            <a:r>
              <a:rPr lang="it-IT" sz="1400" b="1" dirty="0" err="1">
                <a:solidFill>
                  <a:srgbClr val="000000"/>
                </a:solidFill>
                <a:cs typeface="Calibri" panose="020F0502020204030204" pitchFamily="34" charset="0"/>
              </a:rPr>
              <a:t>Airports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b="1" dirty="0" err="1">
                <a:solidFill>
                  <a:srgbClr val="000000"/>
                </a:solidFill>
                <a:cs typeface="Calibri" panose="020F0502020204030204" pitchFamily="34" charset="0"/>
              </a:rPr>
              <a:t>Council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 International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(ACI), l’associazione che rappresenta più di 1.900 aeroporti nel mondo, ha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comunicato ad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ADR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l’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ottenimento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dell’ «</a:t>
            </a:r>
            <a:r>
              <a:rPr lang="it-IT" sz="1400" b="1" dirty="0" err="1">
                <a:solidFill>
                  <a:srgbClr val="000000"/>
                </a:solidFill>
                <a:cs typeface="Calibri" panose="020F0502020204030204" pitchFamily="34" charset="0"/>
              </a:rPr>
              <a:t>Airport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b="1" dirty="0" err="1">
                <a:solidFill>
                  <a:srgbClr val="000000"/>
                </a:solidFill>
                <a:cs typeface="Calibri" panose="020F0502020204030204" pitchFamily="34" charset="0"/>
              </a:rPr>
              <a:t>Health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b="1" dirty="0" err="1">
                <a:solidFill>
                  <a:srgbClr val="000000"/>
                </a:solidFill>
                <a:cs typeface="Calibri" panose="020F0502020204030204" pitchFamily="34" charset="0"/>
              </a:rPr>
              <a:t>Accreditation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» per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Fiumicino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e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Ciampino</a:t>
            </a:r>
            <a:endParaRPr lang="it-IT" sz="1400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Gli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scali romani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sono i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primi nell’Unione Europea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e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terzi a livello globale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a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ricevere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questa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certificazione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che dimostra come i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protocolli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e le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misure adottate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da ADR siano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all'avanguardia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nel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contenimento della diffusione dei virus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e rappresentino un esempio di </a:t>
            </a:r>
            <a:r>
              <a:rPr lang="it-IT" sz="1400" i="1" dirty="0">
                <a:solidFill>
                  <a:srgbClr val="000000"/>
                </a:solidFill>
                <a:cs typeface="Calibri" panose="020F0502020204030204" pitchFamily="34" charset="0"/>
              </a:rPr>
              <a:t>best </a:t>
            </a:r>
            <a:r>
              <a:rPr lang="it-IT" sz="1400" i="1" dirty="0" err="1">
                <a:solidFill>
                  <a:srgbClr val="000000"/>
                </a:solidFill>
                <a:cs typeface="Calibri" panose="020F0502020204030204" pitchFamily="34" charset="0"/>
              </a:rPr>
              <a:t>practice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del settore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ADR ha contribuito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alla configurazione delle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b="1" i="1" dirty="0">
                <a:solidFill>
                  <a:srgbClr val="000000"/>
                </a:solidFill>
                <a:cs typeface="Calibri" panose="020F0502020204030204" pitchFamily="34" charset="0"/>
              </a:rPr>
              <a:t>best </a:t>
            </a:r>
            <a:r>
              <a:rPr lang="it-IT" sz="1400" b="1" i="1" dirty="0" err="1">
                <a:solidFill>
                  <a:srgbClr val="000000"/>
                </a:solidFill>
                <a:cs typeface="Calibri" panose="020F0502020204030204" pitchFamily="34" charset="0"/>
              </a:rPr>
              <a:t>practices</a:t>
            </a:r>
            <a:r>
              <a:rPr lang="it-IT" sz="1400" i="1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e linee guida internazionali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in particolare con la partecipazione alle Task Force ACI che ha aiutato a standardizzare tra aeroporti l’implementazione delle misure EASA/ICAO in vista dell’avvio della «Fase 2»</a:t>
            </a:r>
          </a:p>
          <a:p>
            <a:pPr marL="176140" lvl="1" indent="-176140" algn="just" defTabSz="912552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pic>
        <p:nvPicPr>
          <p:cNvPr id="18" name="Picture 3">
            <a:extLst>
              <a:ext uri="{FF2B5EF4-FFF2-40B4-BE49-F238E27FC236}">
                <a16:creationId xmlns:a16="http://schemas.microsoft.com/office/drawing/2014/main" xmlns="" id="{3685E53D-3A7F-493E-A695-6619C423CA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722" y="1021842"/>
            <a:ext cx="2397571" cy="269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3451" y="4027080"/>
            <a:ext cx="1938105" cy="1800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tangolo 3"/>
          <p:cNvSpPr/>
          <p:nvPr/>
        </p:nvSpPr>
        <p:spPr>
          <a:xfrm>
            <a:off x="7315203" y="3459480"/>
            <a:ext cx="2351851" cy="26205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858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ggetto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34" y="1613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81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11" name="Oggetto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34" y="1613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/>
          <p:cNvSpPr/>
          <p:nvPr>
            <p:custDataLst>
              <p:tags r:id="rId3"/>
            </p:custDataLst>
          </p:nvPr>
        </p:nvSpPr>
        <p:spPr bwMode="auto">
          <a:xfrm>
            <a:off x="10" y="0"/>
            <a:ext cx="171979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it-IT" sz="2400" b="1" dirty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73" name="Rectangle 4"/>
          <p:cNvSpPr>
            <a:spLocks noChangeArrowheads="1"/>
          </p:cNvSpPr>
          <p:nvPr/>
        </p:nvSpPr>
        <p:spPr bwMode="auto">
          <a:xfrm>
            <a:off x="224713" y="106320"/>
            <a:ext cx="9057519" cy="391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 anchorCtr="0"/>
          <a:lstStyle>
            <a:lvl1pPr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ts val="2500"/>
              </a:lnSpc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altLang="it-IT" sz="2000" b="1" u="sng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529415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7840" y="1337243"/>
            <a:ext cx="1605061" cy="1603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ttangolo 8"/>
          <p:cNvSpPr/>
          <p:nvPr/>
        </p:nvSpPr>
        <p:spPr>
          <a:xfrm>
            <a:off x="175095" y="1193919"/>
            <a:ext cx="7826933" cy="50482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0" bIns="45709" rtlCol="0" anchor="t"/>
          <a:lstStyle/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Il 9 Settembre </a:t>
            </a:r>
            <a:r>
              <a:rPr lang="it-IT" sz="1400" b="1" dirty="0" err="1">
                <a:solidFill>
                  <a:srgbClr val="000000"/>
                </a:solidFill>
                <a:cs typeface="Calibri" panose="020F0502020204030204" pitchFamily="34" charset="0"/>
              </a:rPr>
              <a:t>Skytrax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, la principale organizzazione internazionale di rating delle compagnie aeree e aeroporti, ha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comunicato ad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ADR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di aver assegnato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il punteggio massimo di 5 stelle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per le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misure e protocolli anti COVID-19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adottati dal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“Leonardo da Vinci” (primo aeroporto al mondo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a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ricevere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questa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attestazione) 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Per </a:t>
            </a:r>
            <a:r>
              <a:rPr lang="it-IT" sz="1400" b="1" dirty="0" err="1">
                <a:solidFill>
                  <a:srgbClr val="000000"/>
                </a:solidFill>
                <a:cs typeface="Calibri" panose="020F0502020204030204" pitchFamily="34" charset="0"/>
              </a:rPr>
              <a:t>Skytrax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l'aeroporto di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Fiumicino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“</a:t>
            </a:r>
            <a:r>
              <a:rPr lang="it-IT" sz="1400" b="1" i="1" dirty="0">
                <a:solidFill>
                  <a:srgbClr val="000000"/>
                </a:solidFill>
                <a:cs typeface="Calibri" panose="020F0502020204030204" pitchFamily="34" charset="0"/>
              </a:rPr>
              <a:t>sta adottando tutte le misure necessarie per fornire un ambiente pulito e sicuro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”.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it-IT" sz="1400" b="1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L'audit </a:t>
            </a:r>
            <a:r>
              <a:rPr lang="it-IT" sz="1400" b="1" dirty="0" err="1">
                <a:solidFill>
                  <a:srgbClr val="000000"/>
                </a:solidFill>
                <a:cs typeface="Calibri" panose="020F0502020204030204" pitchFamily="34" charset="0"/>
              </a:rPr>
              <a:t>onsite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di </a:t>
            </a:r>
            <a:r>
              <a:rPr lang="it-IT" sz="1400" dirty="0" err="1">
                <a:solidFill>
                  <a:srgbClr val="000000"/>
                </a:solidFill>
                <a:cs typeface="Calibri" panose="020F0502020204030204" pitchFamily="34" charset="0"/>
              </a:rPr>
              <a:t>Skytrax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(condotto a settembre) si è basato su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controlli procedurali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, analisi da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osservazione visiva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e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prove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di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campionamento ATP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*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su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superfici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e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verifica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del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rispetto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degli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standard internazionali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Al termine dell’audit </a:t>
            </a:r>
            <a:r>
              <a:rPr lang="it-IT" sz="1400" b="1" dirty="0" err="1">
                <a:solidFill>
                  <a:srgbClr val="000000"/>
                </a:solidFill>
                <a:cs typeface="Calibri" panose="020F0502020204030204" pitchFamily="34" charset="0"/>
              </a:rPr>
              <a:t>Skytrax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 ha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confermato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che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ADR ha adottato efficacemente tutte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le </a:t>
            </a:r>
            <a:r>
              <a:rPr lang="it-IT" sz="1400" b="1" dirty="0">
                <a:solidFill>
                  <a:srgbClr val="000000"/>
                </a:solidFill>
                <a:cs typeface="Calibri" panose="020F0502020204030204" pitchFamily="34" charset="0"/>
              </a:rPr>
              <a:t>misure anti COVID-19 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e che “</a:t>
            </a:r>
            <a:r>
              <a:rPr lang="it-IT" sz="1400" i="1" dirty="0">
                <a:solidFill>
                  <a:srgbClr val="000000"/>
                </a:solidFill>
                <a:cs typeface="Calibri" panose="020F0502020204030204" pitchFamily="34" charset="0"/>
              </a:rPr>
              <a:t>l'aeroporto continua a fornire un'impressione positiva di pulizia, migliorando gli standard elevati già registrati nel 2019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”. Particolare apprezzamento è stato riconosciuto per le sanificazioni automatiche “UV </a:t>
            </a:r>
            <a:r>
              <a:rPr lang="it-IT" sz="1400" dirty="0" err="1">
                <a:solidFill>
                  <a:srgbClr val="000000"/>
                </a:solidFill>
                <a:cs typeface="Calibri" panose="020F0502020204030204" pitchFamily="34" charset="0"/>
              </a:rPr>
              <a:t>Clean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dirty="0" err="1">
                <a:solidFill>
                  <a:srgbClr val="000000"/>
                </a:solidFill>
                <a:cs typeface="Calibri" panose="020F0502020204030204" pitchFamily="34" charset="0"/>
              </a:rPr>
              <a:t>Touch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” di scale mobili e ascensori, nonché per il monitoraggio della temperatura corporea, (meno di 2 secondi grazie all’installazione di circa 100 </a:t>
            </a:r>
            <a:r>
              <a:rPr lang="it-IT" sz="1400" dirty="0" err="1">
                <a:solidFill>
                  <a:srgbClr val="000000"/>
                </a:solidFill>
                <a:cs typeface="Calibri" panose="020F0502020204030204" pitchFamily="34" charset="0"/>
              </a:rPr>
              <a:t>termoscanner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di ultima generazione)</a:t>
            </a:r>
          </a:p>
          <a:p>
            <a:pPr marL="180975" indent="-180975" algn="just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it-IT" sz="1400" dirty="0" err="1">
                <a:solidFill>
                  <a:srgbClr val="000000"/>
                </a:solidFill>
                <a:cs typeface="Calibri" panose="020F0502020204030204" pitchFamily="34" charset="0"/>
              </a:rPr>
              <a:t>Skytrax</a:t>
            </a:r>
            <a:r>
              <a:rPr lang="it-IT" sz="1400" dirty="0">
                <a:solidFill>
                  <a:srgbClr val="000000"/>
                </a:solidFill>
                <a:cs typeface="Calibri" panose="020F0502020204030204" pitchFamily="34" charset="0"/>
              </a:rPr>
              <a:t> ha anche certificato l’efficace comunicazione ai passeggeri in aerostazione attraverso una segnaletica ad hoc, l’installazione di un consistente numero di totem e messaggi sui monitor digitali. Inoltre è stato riconosciuto l’impegno di ADR per l’ottimizzazione di tutte le procedure aeroportuali, dall’accesso al terminal fino ai </a:t>
            </a:r>
            <a:r>
              <a:rPr lang="it-IT" sz="1400" i="1" dirty="0">
                <a:solidFill>
                  <a:srgbClr val="000000"/>
                </a:solidFill>
                <a:cs typeface="Calibri" panose="020F0502020204030204" pitchFamily="34" charset="0"/>
              </a:rPr>
              <a:t>gate</a:t>
            </a:r>
            <a:endParaRPr lang="it-IT" sz="14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327026" y="6650183"/>
            <a:ext cx="8436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>
                <a:solidFill>
                  <a:srgbClr val="000000"/>
                </a:solidFill>
                <a:cs typeface="Arial" pitchFamily="34" charset="0"/>
              </a:rPr>
              <a:t>(*) ATP: </a:t>
            </a:r>
            <a:r>
              <a:rPr lang="it-IT" sz="900" dirty="0" err="1">
                <a:solidFill>
                  <a:srgbClr val="000000"/>
                </a:solidFill>
                <a:cs typeface="Arial" pitchFamily="34" charset="0"/>
              </a:rPr>
              <a:t>adenosin</a:t>
            </a:r>
            <a:r>
              <a:rPr lang="it-IT" sz="9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it-IT" sz="900" dirty="0" err="1">
                <a:solidFill>
                  <a:srgbClr val="000000"/>
                </a:solidFill>
                <a:cs typeface="Arial" pitchFamily="34" charset="0"/>
              </a:rPr>
              <a:t>trifosfato</a:t>
            </a:r>
            <a:r>
              <a:rPr lang="it-IT" sz="900" dirty="0">
                <a:solidFill>
                  <a:srgbClr val="000000"/>
                </a:solidFill>
                <a:cs typeface="Arial" pitchFamily="34" charset="0"/>
              </a:rPr>
              <a:t>, presente in tutte le cellule animali, vegetali, batteriche, nelle muffe e nei lieviti</a:t>
            </a: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77809" y="165181"/>
            <a:ext cx="8691727" cy="684212"/>
          </a:xfrm>
        </p:spPr>
        <p:txBody>
          <a:bodyPr/>
          <a:lstStyle/>
          <a:p>
            <a:r>
              <a:rPr lang="it-IT" altLang="it-IT" dirty="0" err="1">
                <a:solidFill>
                  <a:srgbClr val="000000"/>
                </a:solidFill>
                <a:cs typeface="Arial" charset="0"/>
              </a:rPr>
              <a:t>Skytrax</a:t>
            </a:r>
            <a:r>
              <a:rPr lang="it-IT" altLang="it-IT" dirty="0">
                <a:solidFill>
                  <a:srgbClr val="000000"/>
                </a:solidFill>
                <a:cs typeface="Arial" charset="0"/>
              </a:rPr>
              <a:t>: COVID-19 5-Star Airport Rating  </a:t>
            </a:r>
            <a:br>
              <a:rPr lang="it-IT" altLang="it-IT" dirty="0">
                <a:solidFill>
                  <a:srgbClr val="000000"/>
                </a:solidFill>
                <a:cs typeface="Arial" charset="0"/>
              </a:rPr>
            </a:br>
            <a:r>
              <a:rPr lang="it-IT" dirty="0">
                <a:solidFill>
                  <a:schemeClr val="tx2"/>
                </a:solidFill>
              </a:rPr>
              <a:t>ADR </a:t>
            </a:r>
            <a:r>
              <a:rPr lang="it-IT" dirty="0" smtClean="0">
                <a:solidFill>
                  <a:schemeClr val="tx2"/>
                </a:solidFill>
              </a:rPr>
              <a:t>unica </a:t>
            </a:r>
            <a:r>
              <a:rPr lang="it-IT" dirty="0">
                <a:solidFill>
                  <a:schemeClr val="tx2"/>
                </a:solidFill>
              </a:rPr>
              <a:t>al mondo con punteggio massimo (5 stelle)</a:t>
            </a:r>
          </a:p>
        </p:txBody>
      </p:sp>
    </p:spTree>
    <p:extLst>
      <p:ext uri="{BB962C8B-B14F-4D97-AF65-F5344CB8AC3E}">
        <p14:creationId xmlns:p14="http://schemas.microsoft.com/office/powerpoint/2010/main" val="348376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xmlns="" id="{CC5CC6C6-6B9C-4C90-862F-84CA8A2685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681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04" name="Diapositiva think-cell" r:id="rId5" imgW="498" imgH="499" progId="TCLayout.ActiveDocument.1">
                  <p:embed/>
                </p:oleObj>
              </mc:Choice>
              <mc:Fallback>
                <p:oleObj name="Diapositiva think-cell" r:id="rId5" imgW="498" imgH="499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xmlns="" id="{CC5CC6C6-6B9C-4C90-862F-84CA8A268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D07D748F-B17C-4729-80DF-A8B1ABF55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4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xmlns="" id="{5343C6FC-6B4A-487A-B8B4-A1C45B90E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873" y="236480"/>
            <a:ext cx="8691727" cy="380441"/>
          </a:xfrm>
        </p:spPr>
        <p:txBody>
          <a:bodyPr/>
          <a:lstStyle/>
          <a:p>
            <a:r>
              <a:rPr lang="it-IT" dirty="0"/>
              <a:t>Aeroporti certificati </a:t>
            </a:r>
            <a:r>
              <a:rPr lang="it-IT" dirty="0" err="1"/>
              <a:t>Skytrax</a:t>
            </a:r>
            <a:r>
              <a:rPr lang="it-IT" dirty="0"/>
              <a:t> </a:t>
            </a:r>
            <a:r>
              <a:rPr lang="it-IT" dirty="0" smtClean="0"/>
              <a:t>al </a:t>
            </a:r>
            <a:r>
              <a:rPr lang="it-IT" dirty="0"/>
              <a:t>12 </a:t>
            </a:r>
            <a:r>
              <a:rPr lang="it-IT" dirty="0" smtClean="0"/>
              <a:t>ottobre</a:t>
            </a:r>
            <a:endParaRPr lang="it-IT" dirty="0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xmlns="" id="{3DCF7A12-4D42-4C56-8074-96F3BBA21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072" y="1632471"/>
            <a:ext cx="902203" cy="901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ttangolo 5">
            <a:extLst>
              <a:ext uri="{FF2B5EF4-FFF2-40B4-BE49-F238E27FC236}">
                <a16:creationId xmlns:a16="http://schemas.microsoft.com/office/drawing/2014/main" xmlns="" id="{F59E10FE-2B55-4BC1-AD68-19DEAF6ED7D1}"/>
              </a:ext>
            </a:extLst>
          </p:cNvPr>
          <p:cNvSpPr/>
          <p:nvPr/>
        </p:nvSpPr>
        <p:spPr>
          <a:xfrm>
            <a:off x="528929" y="1339113"/>
            <a:ext cx="2876551" cy="4890238"/>
          </a:xfrm>
          <a:prstGeom prst="rect">
            <a:avLst/>
          </a:prstGeom>
          <a:noFill/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2000" b="1" dirty="0">
                <a:solidFill>
                  <a:schemeClr val="tx1"/>
                </a:solidFill>
              </a:rPr>
              <a:t>5 stelle </a:t>
            </a:r>
            <a:r>
              <a:rPr lang="it-IT" sz="2000" b="1" dirty="0" err="1">
                <a:solidFill>
                  <a:schemeClr val="tx1"/>
                </a:solidFill>
              </a:rPr>
              <a:t>Skytrax</a:t>
            </a:r>
            <a:endParaRPr lang="it-IT" sz="2000" b="1" dirty="0">
              <a:solidFill>
                <a:schemeClr val="tx1"/>
              </a:solidFill>
            </a:endParaRPr>
          </a:p>
          <a:p>
            <a:r>
              <a:rPr lang="it-IT" sz="2000" b="1" dirty="0">
                <a:solidFill>
                  <a:schemeClr val="tx1"/>
                </a:solidFill>
              </a:rPr>
              <a:t>(1 aeroporto)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xmlns="" id="{41C7052B-153C-4311-8102-328EBE3F7C01}"/>
              </a:ext>
            </a:extLst>
          </p:cNvPr>
          <p:cNvSpPr/>
          <p:nvPr/>
        </p:nvSpPr>
        <p:spPr>
          <a:xfrm>
            <a:off x="3600001" y="1339113"/>
            <a:ext cx="2876551" cy="4890238"/>
          </a:xfrm>
          <a:prstGeom prst="rect">
            <a:avLst/>
          </a:prstGeom>
          <a:noFill/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2000" b="1" dirty="0">
                <a:solidFill>
                  <a:schemeClr val="tx1"/>
                </a:solidFill>
              </a:rPr>
              <a:t>4 stelle </a:t>
            </a:r>
            <a:r>
              <a:rPr lang="it-IT" sz="2000" b="1" dirty="0" err="1">
                <a:solidFill>
                  <a:schemeClr val="tx1"/>
                </a:solidFill>
              </a:rPr>
              <a:t>Skytrax</a:t>
            </a:r>
            <a:endParaRPr lang="it-IT" sz="2000" b="1" dirty="0">
              <a:solidFill>
                <a:schemeClr val="tx1"/>
              </a:solidFill>
            </a:endParaRPr>
          </a:p>
          <a:p>
            <a:pPr algn="ctr"/>
            <a:r>
              <a:rPr lang="it-IT" sz="2000" b="1" dirty="0">
                <a:solidFill>
                  <a:schemeClr val="tx1"/>
                </a:solidFill>
              </a:rPr>
              <a:t>(7 aeroporti)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xmlns="" id="{46EE4776-E617-492D-870C-9CF5D0CDFA28}"/>
              </a:ext>
            </a:extLst>
          </p:cNvPr>
          <p:cNvSpPr/>
          <p:nvPr/>
        </p:nvSpPr>
        <p:spPr>
          <a:xfrm>
            <a:off x="6671073" y="1339113"/>
            <a:ext cx="2876551" cy="4890238"/>
          </a:xfrm>
          <a:prstGeom prst="rect">
            <a:avLst/>
          </a:prstGeom>
          <a:noFill/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2000" b="1" dirty="0">
                <a:solidFill>
                  <a:schemeClr val="tx1"/>
                </a:solidFill>
              </a:rPr>
              <a:t>3 stelle </a:t>
            </a:r>
            <a:r>
              <a:rPr lang="it-IT" sz="2000" b="1" dirty="0" err="1">
                <a:solidFill>
                  <a:schemeClr val="tx1"/>
                </a:solidFill>
              </a:rPr>
              <a:t>Skytrax</a:t>
            </a:r>
            <a:endParaRPr lang="it-IT" sz="2000" b="1" dirty="0">
              <a:solidFill>
                <a:schemeClr val="tx1"/>
              </a:solidFill>
            </a:endParaRPr>
          </a:p>
          <a:p>
            <a:pPr algn="ctr"/>
            <a:r>
              <a:rPr lang="it-IT" sz="2000" b="1" dirty="0">
                <a:solidFill>
                  <a:schemeClr val="tx1"/>
                </a:solidFill>
              </a:rPr>
              <a:t>(9 aeroporti)</a:t>
            </a:r>
          </a:p>
          <a:p>
            <a:pPr algn="ctr"/>
            <a:endParaRPr lang="it-IT" sz="2000" b="1" dirty="0">
              <a:solidFill>
                <a:schemeClr val="tx1"/>
              </a:solidFill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xmlns="" id="{CEFD33E0-E913-4E70-86B4-DD7B109151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2" y="3468468"/>
            <a:ext cx="1149180" cy="1132281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xmlns="" id="{7716AFD9-ED9E-4C11-9235-EE0DD982B982}"/>
              </a:ext>
            </a:extLst>
          </p:cNvPr>
          <p:cNvSpPr txBox="1"/>
          <p:nvPr/>
        </p:nvSpPr>
        <p:spPr>
          <a:xfrm>
            <a:off x="1897384" y="3762375"/>
            <a:ext cx="1326496" cy="42862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b="1" i="1" dirty="0">
                <a:solidFill>
                  <a:schemeClr val="tx1"/>
                </a:solidFill>
              </a:rPr>
              <a:t>Fiumicino</a:t>
            </a:r>
          </a:p>
        </p:txBody>
      </p:sp>
      <p:pic>
        <p:nvPicPr>
          <p:cNvPr id="411650" name="Picture 2" descr="Logo SEA Group | GRUPPO SEA">
            <a:extLst>
              <a:ext uri="{FF2B5EF4-FFF2-40B4-BE49-F238E27FC236}">
                <a16:creationId xmlns:a16="http://schemas.microsoft.com/office/drawing/2014/main" xmlns="" id="{3F03D119-95E3-46CC-952F-625A238437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613" y="2320080"/>
            <a:ext cx="908895" cy="908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xmlns="" id="{DDDB78AE-4FA7-4B96-A602-D4E1E13F2847}"/>
              </a:ext>
            </a:extLst>
          </p:cNvPr>
          <p:cNvSpPr txBox="1"/>
          <p:nvPr/>
        </p:nvSpPr>
        <p:spPr>
          <a:xfrm>
            <a:off x="4516031" y="2389060"/>
            <a:ext cx="1272472" cy="38442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b="1" i="1" dirty="0">
                <a:solidFill>
                  <a:schemeClr val="tx1"/>
                </a:solidFill>
              </a:rPr>
              <a:t>Malpensa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xmlns="" id="{DA50FEC0-90F4-4949-9121-7340A33EC4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27315" y="3371207"/>
            <a:ext cx="832731" cy="1145005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xmlns="" id="{9274FB9E-6E5E-444D-974E-89B392E99A1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22625" y="2894547"/>
            <a:ext cx="1470870" cy="384428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xmlns="" id="{2E4FC579-688A-4712-9859-24FC1A95C20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94151" y="3709353"/>
            <a:ext cx="1360284" cy="751114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xmlns="" id="{346E1F4D-484B-481B-86AA-639B91E37F2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766692" y="4596076"/>
            <a:ext cx="1118950" cy="476665"/>
          </a:xfrm>
          <a:prstGeom prst="rect">
            <a:avLst/>
          </a:prstGeom>
        </p:spPr>
      </p:pic>
      <p:pic>
        <p:nvPicPr>
          <p:cNvPr id="411652" name="Picture 4" descr="Schiphol issues EUR 750 million of green bonds with a tenor of 9 years |  WebWire">
            <a:extLst>
              <a:ext uri="{FF2B5EF4-FFF2-40B4-BE49-F238E27FC236}">
                <a16:creationId xmlns:a16="http://schemas.microsoft.com/office/drawing/2014/main" xmlns="" id="{E2ED8138-8CFF-43F8-B092-61345304A4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9609" y="4889118"/>
            <a:ext cx="1417875" cy="581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54" name="Picture 6" descr="Vienna Airport HP PR Logo - Airport Suppliers">
            <a:extLst>
              <a:ext uri="{FF2B5EF4-FFF2-40B4-BE49-F238E27FC236}">
                <a16:creationId xmlns:a16="http://schemas.microsoft.com/office/drawing/2014/main" xmlns="" id="{86F84963-C457-4ED7-ADAD-9FB22415BB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2331" y="5300683"/>
            <a:ext cx="827715" cy="82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56" name="Picture 8" descr="Microsoft Customer Story-Heathrow prepares rather than reacts: uses data to  deliver airport calm">
            <a:extLst>
              <a:ext uri="{FF2B5EF4-FFF2-40B4-BE49-F238E27FC236}">
                <a16:creationId xmlns:a16="http://schemas.microsoft.com/office/drawing/2014/main" xmlns="" id="{35AF820C-BA14-4726-A440-770B08717D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2487" y="2013864"/>
            <a:ext cx="1466350" cy="821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58" name="Picture 10" descr="london-gatwick — AIRDAT">
            <a:extLst>
              <a:ext uri="{FF2B5EF4-FFF2-40B4-BE49-F238E27FC236}">
                <a16:creationId xmlns:a16="http://schemas.microsoft.com/office/drawing/2014/main" xmlns="" id="{92950787-C414-4E13-B2E4-293F2769E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8668" y="2587796"/>
            <a:ext cx="1439688" cy="688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60" name="Picture 12" descr="Aeroporto di Nizza Costa Azzurra ▷ Charter-A Ltd">
            <a:extLst>
              <a:ext uri="{FF2B5EF4-FFF2-40B4-BE49-F238E27FC236}">
                <a16:creationId xmlns:a16="http://schemas.microsoft.com/office/drawing/2014/main" xmlns="" id="{B7A87E99-2E44-4798-85EE-8F5896A7A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0607" y="3054583"/>
            <a:ext cx="1700965" cy="708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sellaDiTesto 22">
            <a:extLst>
              <a:ext uri="{FF2B5EF4-FFF2-40B4-BE49-F238E27FC236}">
                <a16:creationId xmlns:a16="http://schemas.microsoft.com/office/drawing/2014/main" xmlns="" id="{4D3CC506-A8C2-4F15-A2AB-D50D79CE854A}"/>
              </a:ext>
            </a:extLst>
          </p:cNvPr>
          <p:cNvSpPr txBox="1"/>
          <p:nvPr/>
        </p:nvSpPr>
        <p:spPr>
          <a:xfrm>
            <a:off x="8138079" y="3391643"/>
            <a:ext cx="956027" cy="31771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b="1" i="1" dirty="0">
                <a:solidFill>
                  <a:schemeClr val="tx1"/>
                </a:solidFill>
              </a:rPr>
              <a:t>Nizza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xmlns="" id="{51F556DD-ED56-4382-A561-8399B2EC82B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877028" y="4107759"/>
            <a:ext cx="1083480" cy="400615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xmlns="" id="{1A819A7F-E3A7-4203-A2FF-0535BE66A12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226356" y="4080183"/>
            <a:ext cx="1122988" cy="428191"/>
          </a:xfrm>
          <a:prstGeom prst="rect">
            <a:avLst/>
          </a:prstGeom>
        </p:spPr>
      </p:pic>
      <p:pic>
        <p:nvPicPr>
          <p:cNvPr id="411662" name="Picture 14">
            <a:extLst>
              <a:ext uri="{FF2B5EF4-FFF2-40B4-BE49-F238E27FC236}">
                <a16:creationId xmlns:a16="http://schemas.microsoft.com/office/drawing/2014/main" xmlns="" id="{4D49F897-6046-4C2C-A3CF-DF3ED2C76E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7132" y="4660094"/>
            <a:ext cx="1207914" cy="385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xmlns="" id="{5A51247F-9CDD-4C26-BD75-AEDB1057FF07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343227" y="4919968"/>
            <a:ext cx="1040914" cy="448894"/>
          </a:xfrm>
          <a:prstGeom prst="rect">
            <a:avLst/>
          </a:prstGeom>
        </p:spPr>
      </p:pic>
      <p:pic>
        <p:nvPicPr>
          <p:cNvPr id="411664" name="Picture 16">
            <a:extLst>
              <a:ext uri="{FF2B5EF4-FFF2-40B4-BE49-F238E27FC236}">
                <a16:creationId xmlns:a16="http://schemas.microsoft.com/office/drawing/2014/main" xmlns="" id="{C98C8169-1D5E-491F-8782-5EB30D59A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710" y="5330719"/>
            <a:ext cx="1235229" cy="376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66" name="Picture 18" descr="Palma De Mallorca HP PR Logo - Airport Suppliers">
            <a:extLst>
              <a:ext uri="{FF2B5EF4-FFF2-40B4-BE49-F238E27FC236}">
                <a16:creationId xmlns:a16="http://schemas.microsoft.com/office/drawing/2014/main" xmlns="" id="{21DE013E-FCF2-41B9-B350-F620C42F79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661" b="32606"/>
          <a:stretch/>
        </p:blipFill>
        <p:spPr bwMode="auto">
          <a:xfrm>
            <a:off x="7820535" y="5578744"/>
            <a:ext cx="1610164" cy="54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xmlns="" id="{80BCE602-8ABC-4239-9A8E-DA924411DA0C}"/>
              </a:ext>
            </a:extLst>
          </p:cNvPr>
          <p:cNvSpPr/>
          <p:nvPr/>
        </p:nvSpPr>
        <p:spPr>
          <a:xfrm>
            <a:off x="606489" y="3257875"/>
            <a:ext cx="2697354" cy="1519398"/>
          </a:xfrm>
          <a:prstGeom prst="rect">
            <a:avLst/>
          </a:prstGeom>
          <a:noFill/>
          <a:ln w="38100" cap="rnd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1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562" name="Object 69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2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66562" name="Object 69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60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341313" y="176469"/>
            <a:ext cx="8693150" cy="425617"/>
          </a:xfrm>
        </p:spPr>
        <p:txBody>
          <a:bodyPr/>
          <a:lstStyle/>
          <a:p>
            <a:pPr>
              <a:defRPr/>
            </a:pPr>
            <a:r>
              <a:rPr lang="it-IT" sz="2400" kern="1200" dirty="0">
                <a:solidFill>
                  <a:schemeClr val="tx2"/>
                </a:solidFill>
              </a:rPr>
              <a:t>Test antigenici rapidi a FCO (dal 16 agosto)</a:t>
            </a:r>
          </a:p>
        </p:txBody>
      </p:sp>
      <p:sp>
        <p:nvSpPr>
          <p:cNvPr id="16" name="CasellaDiTesto 15"/>
          <p:cNvSpPr txBox="1"/>
          <p:nvPr/>
        </p:nvSpPr>
        <p:spPr>
          <a:xfrm>
            <a:off x="253203" y="1222401"/>
            <a:ext cx="9439049" cy="461665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al 16 agosto per passeggeri provenienti da Croazia, Grecia, Malta, Spagna ed alcuni scali francesi (dal 22 settembre) ADR dispone il test antigenico rapido </a:t>
            </a:r>
          </a:p>
        </p:txBody>
      </p:sp>
      <p:pic>
        <p:nvPicPr>
          <p:cNvPr id="47" name="Immagine 46">
            <a:extLst>
              <a:ext uri="{FF2B5EF4-FFF2-40B4-BE49-F238E27FC236}">
                <a16:creationId xmlns:a16="http://schemas.microsoft.com/office/drawing/2014/main" xmlns="" id="{7994EC6E-C306-4E36-AD47-1B4783AA01E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074" b="17810"/>
          <a:stretch/>
        </p:blipFill>
        <p:spPr>
          <a:xfrm>
            <a:off x="78014" y="2111716"/>
            <a:ext cx="9711529" cy="2685443"/>
          </a:xfrm>
          <a:prstGeom prst="rect">
            <a:avLst/>
          </a:prstGeom>
        </p:spPr>
      </p:pic>
      <p:sp>
        <p:nvSpPr>
          <p:cNvPr id="21" name="CasellaDiTesto 20"/>
          <p:cNvSpPr txBox="1"/>
          <p:nvPr/>
        </p:nvSpPr>
        <p:spPr>
          <a:xfrm>
            <a:off x="1286598" y="1893480"/>
            <a:ext cx="47585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mero di passeggeri sottoposti al test Covid-19 all’arrivo al Terminal 3</a:t>
            </a:r>
          </a:p>
        </p:txBody>
      </p:sp>
      <p:sp>
        <p:nvSpPr>
          <p:cNvPr id="48" name="CasellaDiTesto 47"/>
          <p:cNvSpPr txBox="1"/>
          <p:nvPr/>
        </p:nvSpPr>
        <p:spPr>
          <a:xfrm>
            <a:off x="214254" y="4911901"/>
            <a:ext cx="9439049" cy="1015663"/>
          </a:xfrm>
          <a:prstGeom prst="rect">
            <a:avLst/>
          </a:prstGeom>
          <a:noFill/>
          <a:ln>
            <a:solidFill>
              <a:srgbClr val="33CCFF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’esperienza di FCO sta dimostrando che è possibile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ttoporre un elevato numero di persone a screening Covid-19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d un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so costo e con tempi di risposta rapidi (attualmente massimo 30 minuti + 5 minuti per l’adempimento della parte burocratica)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 test antigenico rapido utilizzato al Terminal 3 dell’aeroporto di FCO, CIA e ora al drive-in collocato presso il parcheggio lunga sosta rispetta i requisiti delle Autorità Sanitarie nazionali </a:t>
            </a:r>
          </a:p>
        </p:txBody>
      </p:sp>
    </p:spTree>
    <p:extLst>
      <p:ext uri="{BB962C8B-B14F-4D97-AF65-F5344CB8AC3E}">
        <p14:creationId xmlns:p14="http://schemas.microsoft.com/office/powerpoint/2010/main" val="4240348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STYLE_NAME" val="Aeroporti di Roma Grid 4:3"/>
  <p:tag name="EE4P_MASTERWIZARD_MARGINS" val="0"/>
  <p:tag name="EE4P_AGENDAWIZARD" val="&lt;ee4p&gt;&lt;layouts&gt;&lt;layout name=&quot;Two-Thirds&quot; id=&quot;227_2-4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&quot; subtitle=&quot;&quot; sizingModeId=&quot;1&quot; fontSize=&quot;20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35.8057&quot; top=&quot;54.87496&quot; width=&quot;394.8194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Arial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2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0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0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0&quot; /&gt;&lt;/element&gt;&lt;element field=&quot;pageno&quot; type=&quot;autoshape&quot; autoShapeType=&quot;1&quot;&gt;&lt;paragraphformat alignment=&quot;3&quot; /&gt;&lt;font size=&quot;20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1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4&quot; /&gt;&lt;/element&gt;&lt;element field=&quot;pageno&quot; type=&quot;autoshape&quot; autoShapeType=&quot;1&quot;&gt;&lt;paragraphformat alignment=&quot;3&quot; /&gt;&lt;font size=&quot;14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size=&quot;2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size=&quot;20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size=&quot;20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size=&quot;20&quot; /&gt;&lt;/element&gt;&lt;element field=&quot;pageno&quot; type=&quot;autoshape&quot; autoShapeType=&quot;1&quot;&gt;&lt;paragraphformat alignment=&quot;3&quot; /&gt;&lt;font color=&quot;13:0.4&quot; size=&quot;20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2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0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0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0&quot; /&gt;&lt;/element&gt;&lt;element field=&quot;pageno&quot; type=&quot;autoshape&quot; autoShapeType=&quot;1&quot;&gt;&lt;paragraphformat alignment=&quot;3&quot; /&gt;&lt;font size=&quot;20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size=&quot;1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size=&quot;1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size=&quot;1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size=&quot;14&quot; /&gt;&lt;/element&gt;&lt;element field=&quot;pageno&quot; type=&quot;autoshape&quot; autoShapeType=&quot;1&quot;&gt;&lt;paragraphformat alignment=&quot;3&quot; /&gt;&lt;font color=&quot;13:0.4&quot; size=&quot;14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1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4&quot; /&gt;&lt;/element&gt;&lt;element field=&quot;pageno&quot; type=&quot;autoshape&quot; autoShapeType=&quot;1&quot;&gt;&lt;paragraphformat alignment=&quot;3&quot; /&gt;&lt;font size=&quot;14&quot; /&gt;&lt;/element&gt;&lt;/case&gt;&lt;/cases&gt;&lt;elements /&gt;&lt;/layout&gt;&lt;/layouts&gt;&lt;contents&gt;&lt;agenda name=&quot;&quot; title=&quot;&quot; subtitle=&quot;&quot; sizingModeId=&quot;1&quot; fontSize=&quot;20&quot; fontSizeAuto=&quot;1&quot; startTime=&quot;540&quot; timeFormatId=&quot;1&quot; startItemNo=&quot;1&quot; createSingleAgendaSlide=&quot;1&quot; createSeparatingSlides=&quot;1&quot; createBackupSlide=&quot;1&quot; layoutId=&quot;227_2-4&quot; hideSeparatingSlides=&quot;0&quot; createSections=&quot;0&quot; singleSlideId=&quot;957c5399-6e9f-4a18-be45-0207871eb264&quot; backupSlideId=&quot;f96a7355-f04a-4aaf-adf7-1e0df6cf88d8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62.7327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e6349cc0-7018-474a-a43f-8286e9d19e27&quot; parentId=&quot;&quot; level=&quot;1&quot; generateAgendaSlide=&quot;1&quot; showAgendaItem=&quot;1&quot; isBreak=&quot;0&quot; topic=&quot;OPEX update and preliminary results&quot; agendaSlideId=&quot;1690eaca-81a4-4d79-a8e0-23abdc2296f0&quot; /&gt;&lt;item duration=&quot;30&quot; id=&quot;efe9034f-3d0e-4de3-99e8-734b28ec71b5&quot; parentId=&quot;&quot; level=&quot;1&quot; generateAgendaSlide=&quot;1&quot; showAgendaItem=&quot;1&quot; isBreak=&quot;0&quot; topic=&quot;&amp;#xD;&amp;#xA;Maintenance&amp;#xD;&amp;#xA;Cleaning&amp;#xD;&amp;#xA;Airport management&amp;#xD;&amp;#xA;Security&quot; agendaSlideId=&quot;ecf0e9d0-331b-46d1-a8ca-0dd1d7091346&quot; /&gt;&lt;item duration=&quot;30&quot; id=&quot;8b621d7c-2e93-4236-a67b-e8a73b99d1fb&quot; parentId=&quot;&quot; level=&quot;1&quot; generateAgendaSlide=&quot;1&quot; showAgendaItem=&quot;1&quot; isBreak=&quot;0&quot; topic=&quot;Outline final presentation&amp;#xD;&amp;#xA;&amp;#xD;&amp;#xA;&quot; agendaSlideId=&quot;a48950d3-c284-464e-b385-968615acc730&quot; /&gt;&lt;item duration=&quot;30&quot; id=&quot;cd2dec66-5103-4059-911f-3c17e74e106b&quot; parentId=&quot;&quot; level=&quot;1&quot; generateAgendaSlide=&quot;1&quot; showAgendaItem=&quot;1&quot; isBreak=&quot;0&quot; topic=&quot;Appendix&amp;#xD;&amp;#xA;&quot; agendaSlideId=&quot;a800da76-c6fc-45f0-887f-5a6c779beb26&quot; /&gt;&lt;/items&gt;&lt;/agenda&gt;&lt;/contents&gt;&lt;/ee4p&gt;"/>
  <p:tag name="EE4P_STYLE_ID" val="0fbcd015-fbac-494c-bcad-77fcf24a62f5"/>
  <p:tag name="THINKCELLPRESENTATIONDONOTDELETE" val="&lt;?xml version=&quot;1.0&quot; encoding=&quot;UTF-16&quot; standalone=&quot;yes&quot;?&gt;&lt;root reqver=&quot;25060&quot;&gt;&lt;version val=&quot;2840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4.68559000000000036579E+00&quot;&gt;&lt;m_msothmcolidx val=&quot;0&quot;/&gt;&lt;m_rgb r=&quot;FF&quot; g=&quot;96&quot; b=&quot;0C&quot;/&gt;&lt;m_nBrightness endver=&quot;26206&quot; val=&quot;0&quot;/&gt;&lt;/elem&gt;&lt;elem m_fUsage=&quot;5.31441000000000163261E-01&quot;&gt;&lt;m_msothmcolidx val=&quot;0&quot;/&gt;&lt;m_rgb r=&quot;EB&quot; g=&quot;C5&quot; b=&quot;D0&quot;/&gt;&lt;m_nBrightness endver=&quot;26206&quot; val=&quot;0&quot;/&gt;&lt;/elem&gt;&lt;elem m_fUsage=&quot;4.78296900000000135833E-01&quot;&gt;&lt;m_msothmcolidx val=&quot;0&quot;/&gt;&lt;m_rgb r=&quot;EE&quot; g=&quot;E8&quot; b=&quot;9A&quot;/&gt;&lt;m_nBrightness endver=&quot;26206&quot; val=&quot;0&quot;/&gt;&lt;/elem&gt;&lt;elem m_fUsage=&quot;4.30467210000000155556E-01&quot;&gt;&lt;m_msothmcolidx val=&quot;0&quot;/&gt;&lt;m_rgb r=&quot;C9&quot; g=&quot;E7&quot; b=&quot;CA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Grt5SGt4GLl9xQ763oz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JrKF3yjI1gRF7qCKNzK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GsTRflKQkLliyqda8e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zXSDT2T0QZZueFpmZAv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KguRzPgEeZ14c15vk3m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80HfuCeXxuWdwIt3Ll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10u0qucGuHmILI4vnY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zag_RBXpg4613nrNYP_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1V196JWEussQ0omphV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JrKF3yjI1gRF7qCKNz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zXSDT2T0QZZueFpmZA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STlzdb.nKyX18chy81h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STlzdb.nKyX18chy81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_B53i4qRyJYNcqUw8fL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SpXI7vKnCPnpxxGOcf8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g5kqxN12yYAkksfXng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5Ifha63ulRS7lF_i5h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iLIkQhOvq7l1ep2Jt15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y5aXCIQXUHSgKQyrGc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bRBqzYSCA4tiA8Zj1l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Ka9YXRgRPkG29jnfcd0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6rwtlhCp7mOSCL6w2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_B53i4qRyJYNcqUw8fL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LZln90uoFF42feKy5Ma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mh1oJAoA6dP69BVFyLP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nxfsBf0S1wuZjUn1F9K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G0NmGHW2Ai6CA.hnR_g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50UC0DWvGlzViclJjH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GIwk_bLFuUKgsYAmxfx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27Vaf6cmtrXF7O.Que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SpXI7vKnCPnpxxGOcf8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045c2PfWBxr2dkyaCR4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0o6.6sSqv9gLG.oNd.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Mc3ubf3ZvP.hLRy5oGY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rHemdRs1ishCBq8VaNq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cb0gXHfYNltKJqKUM5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j2RcKGgfcLWwW6u2GYD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hIQrfqT3iA6WR0W_1c8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KI7ysr8F7AhfpAsVECE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2m6zHPfm.zpXvzu4Dhc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PlJlhjEjo9G3EHH9Pj2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g5kqxN12yYAkksfXng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qszgvUAXtXBztiAWnp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hdm.735tmd_SAFq4yQa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ZLpXA50Ej81OlneTXru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3Zrsuvd0uqoA2AHtV_F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6Z8JDW4SUfbk3ax10r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X2aHAvRMpeDaxO3KnF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DsZqGHMeWIoe6JCrP3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Gf6m0ELHTl6YZlA.kx_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.meJpTw97HnBQdVA5gh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sFeJElJxz_yICDCYOd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5Ifha63ulRS7lF_i5hz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T1t0sH6Nr77MC.OqTlW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lxSsiN61iQrg5rpf_M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Grt5SGt4GLl9xQ763oz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iLIkQhOvq7l1ep2Jt15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80HfuCeXxuWdwIt3Llr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10u0qucGuHmILI4vnY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zag_RBXpg4613nrNYP_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1V196JWEussQ0omphVc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JrKF3yjI1gRF7qCKNzK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zXSDT2T0QZZueFpmZAv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STlzdb.nKyX18chy81h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_B53i4qRyJYNcqUw8f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y5aXCIQXUHSgKQyrGc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SpXI7vKnCPnpxxGOcf8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g5kqxN12yYAkksfXng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5Ifha63ulRS7lF_i5hz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iLIkQhOvq7l1ep2Jt15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y5aXCIQXUHSgKQyrG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bRBqzYSCA4tiA8Zj1l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Ka9YXRgRPkG29jnfcd0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6rwtlhCp7mOSCL6w2V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LZln90uoFF42feKy5Ma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mh1oJAoA6dP69BVFyL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bRBqzYSCA4tiA8Zj1l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nxfsBf0S1wuZjUn1F9K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G0NmGHW2Ai6CA.hnR_g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50UC0DWvGlzViclJjHJ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GIwk_bLFuUKgsYAmxfx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80HfuCeXxuWdwIt3Ll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27Vaf6cmtrXF7O.Que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045c2PfWBxr2dkyaCR4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0o6.6sSqv9gLG.oNd.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Ka9YXRgRPkG29jnfcd0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Mc3ubf3ZvP.hLRy5oGY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rHemdRs1ishCBq8VaNq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cb0gXHfYNltKJqKUM5v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j2RcKGgfcLWwW6u2GYD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hIQrfqT3iA6WR0W_1c8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KI7ysr8F7AhfpAsVECE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2m6zHPfm.zpXvzu4Dhc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PlJlhjEjo9G3EHH9Pj2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qszgvUAXtXBztiAWnp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hdm.735tmd_SAFq4yQ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6rwtlhCp7mOSCL6w2V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ZLpXA50Ej81OlneTXru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3Zrsuvd0uqoA2AHtV_F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6Z8JDW4SUfbk3ax10rB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X2aHAvRMpeDaxO3KnF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DsZqGHMeWIoe6JCrP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Gf6m0ELHTl6YZlA.kx_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.meJpTw97HnBQdVA5gh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sFeJElJxz_yICDCYOde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T1t0sH6Nr77MC.OqTlW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lxSsiN61iQrg5rpf_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LZln90uoFF42feKy5Ma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Grt5SGt4GLl9xQ763oz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mh1oJAoA6dP69BVFyLP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80HfuCeXxuWdwIt3Llr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10u0qucGuHmILI4vnY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zag_RBXpg4613nrNYP_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1V196JWEussQ0omphVc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JrKF3yjI1gRF7qCKNz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zXSDT2T0QZZueFpmZAv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STlzdb.nKyX18chy81h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_B53i4qRyJYNcqUw8fL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SpXI7vKnCPnpxxGOcf8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g5kqxN12yYAkksfXn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nxfsBf0S1wuZjUn1F9K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5Ifha63ulRS7lF_i5hz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iLIkQhOvq7l1ep2Jt15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y5aXCIQXUHSgKQyrGc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bRBqzYSCA4tiA8Zj1l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Ka9YXRgRPkG29jnfcd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6rwtlhCp7mOSCL6w2V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LZln90uoFF42feKy5Ma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mh1oJAoA6dP69BVFyLP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nxfsBf0S1wuZjUn1F9K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G0NmGHW2Ai6CA.hnR_g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G0NmGHW2Ai6CA.hnR_g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50UC0DWvGlzViclJjHJ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GIwk_bLFuUKgsYAmxfx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27Vaf6cmtrXF7O.Que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045c2PfWBxr2dkyaCR4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0o6.6sSqv9gLG.oNd.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Mc3ubf3ZvP.hLRy5oGY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rHemdRs1ishCBq8VaN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50UC0DWvGlzViclJjHJ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cb0gXHfYNltKJqKUM5v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j2RcKGgfcLWwW6u2GYD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hIQrfqT3iA6WR0W_1c8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KI7ysr8F7AhfpAsVECE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2m6zHPfm.zpXvzu4Dh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PlJlhjEjo9G3EHH9Pj2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qszgvUAXtXBztiAWnp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hdm.735tmd_SAFq4yQa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ZLpXA50Ej81OlneTXru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3Zrsuvd0uqoA2AHtV_F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GIwk_bLFuUKgsYAmxfx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6Z8JDW4SUfbk3ax10rB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X2aHAvRMpeDaxO3KnF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DsZqGHMeWIoe6JCrP3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Gf6m0ELHTl6YZlA.kx_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.meJpTw97HnBQdVA5g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sFeJElJxz_yICDCYOde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T1t0sH6Nr77MC.OqTlW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lxSsiN61iQrg5rpf_M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Grt5SGt4GLl9xQ763oz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27Vaf6cmtrXF7O.Que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YQ45zELo.k7tXDWMUN1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KguRzPgEeZ14c15vk3m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GsTRflKQkLliyqda8eZ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10u0qucGuHmILI4vnY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KguRzPgEeZ14c15vk3m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80HfuCeXxuWdwIt3Llr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10u0qucGuHmILI4vnY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zag_RBXpg4613nrNYP_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1V196JWEussQ0omphVc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JrKF3yjI1gRF7qCKNzK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zXSDT2T0QZZueFpmZAv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STlzdb.nKyX18chy81h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_B53i4qRyJYNcqUw8fL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SpXI7vKnCPnpxxGOcf8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g5kqxN12yYAkksfXng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5Ifha63ulRS7lF_i5hz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iLIkQhOvq7l1ep2Jt15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y5aXCIQXUHSgKQyrGc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bRBqzYSCA4tiA8Zj1l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Ka9YXRgRPkG29jnfcd0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6rwtlhCp7mOSCL6w2V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LZln90uoFF42feKy5Ma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mh1oJAoA6dP69BVFyLP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nxfsBf0S1wuZjUn1F9K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G0NmGHW2Ai6CA.hnR_g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50UC0DWvGlzViclJjHJ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045c2PfWBxr2dkyaCR4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GIwk_bLFuUKgsYAmxfx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27Vaf6cmtrXF7O.Que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045c2PfWBxr2dkyaCR4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0o6.6sSqv9gLG.oNd.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Mc3ubf3ZvP.hLRy5oGY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rHemdRs1ishCBq8VaNq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cb0gXHfYNltKJqKUM5v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0o6.6sSqv9gLG.oNd.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j2RcKGgfcLWwW6u2GYD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hIQrfqT3iA6WR0W_1c8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KI7ysr8F7AhfpAsVECE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2m6zHPfm.zpXvzu4Dhc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PlJlhjEjo9G3EHH9Pj2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qszgvUAXtXBztiAWnp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hdm.735tmd_SAFq4yQa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ZLpXA50Ej81OlneTXru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3Zrsuvd0uqoA2AHtV_F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6Z8JDW4SUfbk3ax10rB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Mc3ubf3ZvP.hLRy5oGY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X2aHAvRMpeDaxO3KnF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DsZqGHMeWIoe6JCrP3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Gf6m0ELHTl6YZlA.kx_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.meJpTw97HnBQdVA5gh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sFeJElJxz_yICDCYOde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T1t0sH6Nr77MC.OqTlW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lxSsiN61iQrg5rpf_M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Grt5SGt4GLl9xQ763oz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rHemdRs1ishCBq8VaNq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imZbKtmTyxdfyfMEQex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QC8Ey.OVsmrjr_V7Y8s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Iv3l2c1neQA9.0EEO.3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uEnBBQV3JDruJda8M9j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fgT3cF1nKVqz_2XM97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cb0gXHfYNltKJqKUM5v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iuKq_m9VbFSvsauG_Sc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42p1lUK.zbS45w_81pp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3e6e0VnBEV_FbImHMzj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.5E3E.SQZg8tQ.UsEpt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QdOr80Cr0nLI0s4gLVB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vNYXuszzZgEjvEuX1Xi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75Abn.ef0J3bGiGIiVc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2WUWLJVznv6rRvYw743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sj185Hww1YC4wWr50XF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GbhTyONtB.aZBMQMLd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ESgXUblo4ejcktXHxmL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MphlO_CpOOK2yZQ_I5K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e7o5FleejWbGNeMtEEg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FRFtCxbMKBR9go6T8P9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Z9rQ1gcoUyVpaRCOybY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aJqiu4WE_XCYbDxMvWp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2u1CiKA2iF2femyLCuw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uCTEdmC5mI49Nx1fLsK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NfG387_nbYUgs_KY_Nr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MWsBU3fPIkb1FUReUGy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j2RcKGgfcLWwW6u2GYD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Wihc8VAtflpHKpqt4f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hSN78jWVbPF2ETjUnYJ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aRs9.Rq4ay1W21nNLVM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5CcFE3sANc939hsXy2m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eFumjt0iEREQY1tsUTT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USP1UK.WctU7q34aa0N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QC8Ey.OVsmrjr_V7Y8s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QC8Ey.OVsmrjr_V7Y8s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yF_NvHS7yihzc8U2ZwX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yF_NvHS7yihzc8U2ZwX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9AfevM2NcQyIdM8A0Ka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wYpvMKN0.YdfY43Zqgz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hIQrfqT3iA6WR0W_1c8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SxCdDh_BIBsj5_636V.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crAieGaV8tDpNq5ot.D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0b3VokkXRJkufjOSlOB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eDWCd__tvaqBCmhkwC5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sKdJRZegBAvavXMEGRv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cG9P7oZXpUbc_E04N_d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USP1UK.WctU7q34aa0N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xQ9PB8ueNjN3wCaZXPf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v4R.abBzdVQHMmKkUxK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dEll8lzWTqt5EIS4YOM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Aqlm.bJg2jxRLMEANq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f0RB_EEIsDqAJ.Cr8I4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V3GBCT9EFJWn179MHdb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8ZpwDWtvupWfS6bvArD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KI7ysr8F7AhfpAsVECE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ZxqUux35qRN.C.k4ICP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SWbfW5vMyJi3INsbIu4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IuUlw17D.XrU_hS2MZE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9u2Ap6l7OTyfDwcFtdJ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d6bNM6aUV5z5uEvL60R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LlgnQ8IgSP6VchPLJN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85LE4K9pYScEvfW.k0Q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obA_w2V1dpb6nKWQ.7E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yJF607iDAvZ_8SX5fRE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r9HDrePYgFziSNfqYR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zag_RBXpg4613nrNYP_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OiUisJY1zkJ9F95RiWA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2z0lU3Hl0.lPnKDMTRs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a91PfRZp.5ybvDf8a8m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BNrfX.h7ihVVo1yjq.q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vY0bVj2A9sefPlmgbRm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dIDgXQP0K8Obk4hBNWt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cr5AVILfkR8g_T2FXk_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wYpvMKN0.YdfY43Zqgz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W4qIbyjulvK6hRWOP1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2m6zHPfm.zpXvzu4Dhc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JB4cph4BLYagUiG9dAD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dcdfG5tY63RBiq52GAN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BOPBXraCWKWdxH6zWrW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1KV3U2QXK8M3Fl5Ve0O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Noy6vt0nnNRR6TMnNWH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fU27Wnor3AgvbY.rDzPg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fFs6I1ikK88W2b3aIKr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92nUm4YtXCindDcu9B9w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pXXGlG4y8qHnJVoKRTm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bmLcUb.9gz2_GRFe7s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rNN3UEmSCaONzCGO8xB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CmQWvVPGZQMnXS..k4v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qml_XuvIg69dClqdHLp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9qq.qZJ_NuvTNDdYT48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RqO7ghse4kxsNvpw8nS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fUNEDtgBFGOKWAheRgh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nxTbrDKT.zeYJp1Qj.E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x7YQY.qNGO0pemwABPM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I58ySiPWJSybgaf_tBL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mgCE7i5TRwsfGC2VN20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PlJlhjEjo9G3EHH9Pj2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K_UmwvRXMtV2EDNonbv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I8HysfmjMoWJLWMdAAi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9kV_rY30Gkv3vfd2PXP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V9KeAuTB408vfuJQfBD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0ojcMhdJzWyl8tYHuMk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ADw2ZWsy5e_7MQMXfh3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mjvEg5yKr_cB.z5iXiW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ZRHGXdEmFoZHIEsa8uW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l4K2OyqPFpOXTLlxJA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9kV_rY30Gkv3vfd2PX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qszgvUAXtXBztiAWn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hdm.735tmd_SAFq4yQ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ZLpXA50Ej81OlneTXr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3Zrsuvd0uqoA2AHtV_F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6Z8JDW4SUfbk3ax10rB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X2aHAvRMpeDaxO3KnF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DsZqGHMeWIoe6JCrP3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Gf6m0ELHTl6YZlA.kx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1V196JWEussQ0omphVc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.meJpTw97HnBQdVA5gh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sFeJElJxz_yICDCYOde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T1t0sH6Nr77MC.OqTlW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lxSsiN61iQrg5rpf_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Custom 52">
      <a:dk1>
        <a:srgbClr val="000000"/>
      </a:dk1>
      <a:lt1>
        <a:sysClr val="window" lastClr="FFFFFF"/>
      </a:lt1>
      <a:dk2>
        <a:srgbClr val="193989"/>
      </a:dk2>
      <a:lt2>
        <a:srgbClr val="F2F2F2"/>
      </a:lt2>
      <a:accent1>
        <a:srgbClr val="000090"/>
      </a:accent1>
      <a:accent2>
        <a:srgbClr val="132B67"/>
      </a:accent2>
      <a:accent3>
        <a:srgbClr val="FF9933"/>
      </a:accent3>
      <a:accent4>
        <a:srgbClr val="537BDF"/>
      </a:accent4>
      <a:accent5>
        <a:srgbClr val="9FA0A3"/>
      </a:accent5>
      <a:accent6>
        <a:srgbClr val="009999"/>
      </a:accent6>
      <a:hlink>
        <a:srgbClr val="CC99FF"/>
      </a:hlink>
      <a:folHlink>
        <a:srgbClr val="008000"/>
      </a:folHlink>
    </a:clrScheme>
    <a:fontScheme name="Custom 1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16x9.potx" id="{F1417891-ADEE-4A5A-84BF-A61365689D8D}" vid="{7D249777-7FCF-437A-B862-D77B0EF45DB4}"/>
    </a:ext>
  </a:extLst>
</a:theme>
</file>

<file path=ppt/theme/theme10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1_TEMPLATE 2008">
  <a:themeElements>
    <a:clrScheme name="10_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10_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 w="9525" cap="flat" cmpd="sng" algn="ctr">
          <a:solidFill>
            <a:srgbClr val="FFFF99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R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tabLst/>
          <a:defRPr kumimoji="0" sz="11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FFFF99">
            <a:alpha val="30000"/>
          </a:srgb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10_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018.08.06_Consultazione con gli utenti su proposta di aggiornamento tariffario 2019 __ Informazioni preliminari __ (LAST ITA)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CG Grid 16:9">
  <a:themeElements>
    <a:clrScheme name="Custom 52">
      <a:dk1>
        <a:srgbClr val="000000"/>
      </a:dk1>
      <a:lt1>
        <a:sysClr val="window" lastClr="FFFFFF"/>
      </a:lt1>
      <a:dk2>
        <a:srgbClr val="193989"/>
      </a:dk2>
      <a:lt2>
        <a:srgbClr val="F2F2F2"/>
      </a:lt2>
      <a:accent1>
        <a:srgbClr val="000090"/>
      </a:accent1>
      <a:accent2>
        <a:srgbClr val="132B67"/>
      </a:accent2>
      <a:accent3>
        <a:srgbClr val="FF9933"/>
      </a:accent3>
      <a:accent4>
        <a:srgbClr val="537BDF"/>
      </a:accent4>
      <a:accent5>
        <a:srgbClr val="9FA0A3"/>
      </a:accent5>
      <a:accent6>
        <a:srgbClr val="009999"/>
      </a:accent6>
      <a:hlink>
        <a:srgbClr val="CC99FF"/>
      </a:hlink>
      <a:folHlink>
        <a:srgbClr val="008000"/>
      </a:folHlink>
    </a:clrScheme>
    <a:fontScheme name="Custom 1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2_BCG Grid 16:9">
  <a:themeElements>
    <a:clrScheme name="Custom 52">
      <a:dk1>
        <a:srgbClr val="000000"/>
      </a:dk1>
      <a:lt1>
        <a:sysClr val="window" lastClr="FFFFFF"/>
      </a:lt1>
      <a:dk2>
        <a:srgbClr val="193989"/>
      </a:dk2>
      <a:lt2>
        <a:srgbClr val="F2F2F2"/>
      </a:lt2>
      <a:accent1>
        <a:srgbClr val="000090"/>
      </a:accent1>
      <a:accent2>
        <a:srgbClr val="132B67"/>
      </a:accent2>
      <a:accent3>
        <a:srgbClr val="FF9933"/>
      </a:accent3>
      <a:accent4>
        <a:srgbClr val="537BDF"/>
      </a:accent4>
      <a:accent5>
        <a:srgbClr val="9FA0A3"/>
      </a:accent5>
      <a:accent6>
        <a:srgbClr val="009999"/>
      </a:accent6>
      <a:hlink>
        <a:srgbClr val="CC99FF"/>
      </a:hlink>
      <a:folHlink>
        <a:srgbClr val="008000"/>
      </a:folHlink>
    </a:clrScheme>
    <a:fontScheme name="Custom 1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3_BCG Grid 16:9">
  <a:themeElements>
    <a:clrScheme name="Custom 52">
      <a:dk1>
        <a:srgbClr val="000000"/>
      </a:dk1>
      <a:lt1>
        <a:sysClr val="window" lastClr="FFFFFF"/>
      </a:lt1>
      <a:dk2>
        <a:srgbClr val="193989"/>
      </a:dk2>
      <a:lt2>
        <a:srgbClr val="F2F2F2"/>
      </a:lt2>
      <a:accent1>
        <a:srgbClr val="000090"/>
      </a:accent1>
      <a:accent2>
        <a:srgbClr val="132B67"/>
      </a:accent2>
      <a:accent3>
        <a:srgbClr val="FF9933"/>
      </a:accent3>
      <a:accent4>
        <a:srgbClr val="537BDF"/>
      </a:accent4>
      <a:accent5>
        <a:srgbClr val="9FA0A3"/>
      </a:accent5>
      <a:accent6>
        <a:srgbClr val="009999"/>
      </a:accent6>
      <a:hlink>
        <a:srgbClr val="CC99FF"/>
      </a:hlink>
      <a:folHlink>
        <a:srgbClr val="008000"/>
      </a:folHlink>
    </a:clrScheme>
    <a:fontScheme name="Custom 1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33_TEMPLATE 2008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2018.08.06_Consultazione con gli utenti su proposta di aggiornamento tariffario 2019 __ Informazioni preliminari __ (LAST ITA)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BCG Grid 16:9">
  <a:themeElements>
    <a:clrScheme name="Custom 52">
      <a:dk1>
        <a:srgbClr val="000000"/>
      </a:dk1>
      <a:lt1>
        <a:sysClr val="window" lastClr="FFFFFF"/>
      </a:lt1>
      <a:dk2>
        <a:srgbClr val="193989"/>
      </a:dk2>
      <a:lt2>
        <a:srgbClr val="F2F2F2"/>
      </a:lt2>
      <a:accent1>
        <a:srgbClr val="000090"/>
      </a:accent1>
      <a:accent2>
        <a:srgbClr val="132B67"/>
      </a:accent2>
      <a:accent3>
        <a:srgbClr val="FF9933"/>
      </a:accent3>
      <a:accent4>
        <a:srgbClr val="537BDF"/>
      </a:accent4>
      <a:accent5>
        <a:srgbClr val="9FA0A3"/>
      </a:accent5>
      <a:accent6>
        <a:srgbClr val="009999"/>
      </a:accent6>
      <a:hlink>
        <a:srgbClr val="CC99FF"/>
      </a:hlink>
      <a:folHlink>
        <a:srgbClr val="008000"/>
      </a:folHlink>
    </a:clrScheme>
    <a:fontScheme name="Custom 1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08</TotalTime>
  <Words>2191</Words>
  <Application>Microsoft Office PowerPoint</Application>
  <PresentationFormat>A4 (21x29,7 cm)</PresentationFormat>
  <Paragraphs>260</Paragraphs>
  <Slides>19</Slides>
  <Notes>7</Notes>
  <HiddenSlides>0</HiddenSlides>
  <MMClips>0</MMClips>
  <ScaleCrop>false</ScaleCrop>
  <HeadingPairs>
    <vt:vector size="8" baseType="variant">
      <vt:variant>
        <vt:lpstr>Tema</vt:lpstr>
      </vt:variant>
      <vt:variant>
        <vt:i4>9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9</vt:i4>
      </vt:variant>
      <vt:variant>
        <vt:lpstr>Presentazioni personalizzate</vt:lpstr>
      </vt:variant>
      <vt:variant>
        <vt:i4>1</vt:i4>
      </vt:variant>
    </vt:vector>
  </HeadingPairs>
  <TitlesOfParts>
    <vt:vector size="30" baseType="lpstr">
      <vt:lpstr>BCG Grid 16:9</vt:lpstr>
      <vt:lpstr>11_TEMPLATE 2008</vt:lpstr>
      <vt:lpstr>2018.08.06_Consultazione con gli utenti su proposta di aggiornamento tariffario 2019 __ Informazioni preliminari __ (LAST ITA)</vt:lpstr>
      <vt:lpstr>1_BCG Grid 16:9</vt:lpstr>
      <vt:lpstr>2_BCG Grid 16:9</vt:lpstr>
      <vt:lpstr>3_BCG Grid 16:9</vt:lpstr>
      <vt:lpstr>33_TEMPLATE 2008</vt:lpstr>
      <vt:lpstr>1_2018.08.06_Consultazione con gli utenti su proposta di aggiornamento tariffario 2019 __ Informazioni preliminari __ (LAST ITA)</vt:lpstr>
      <vt:lpstr>4_BCG Grid 16:9</vt:lpstr>
      <vt:lpstr>Diapositiva think-cell</vt:lpstr>
      <vt:lpstr>Presentazione standard di PowerPoint</vt:lpstr>
      <vt:lpstr>Forte riduzione del traffico a seguito della pandemia. A FCO performance peggiori rispetto all’andamento del settore</vt:lpstr>
      <vt:lpstr> Le principali fonti di settore prevedono forte riduzione nel  2020 ed incertezza sui tempi di recupero dei livelli pre-Covid</vt:lpstr>
      <vt:lpstr>L’impegno assoluto di ADR per prevenzione e sicurezza dei passeggeri </vt:lpstr>
      <vt:lpstr>Attivate molteplici misure di prevenzione per garantire la sicurezza dei passeggeri</vt:lpstr>
      <vt:lpstr>ADR prima al mondo certificata Biosafety Trust e prima in UE per Airport Health Accreditation di ACI  </vt:lpstr>
      <vt:lpstr>Skytrax: COVID-19 5-Star Airport Rating   ADR unica al mondo con punteggio massimo (5 stelle)</vt:lpstr>
      <vt:lpstr>Aeroporti certificati Skytrax al 12 ottobre</vt:lpstr>
      <vt:lpstr>Test antigenici rapidi a FCO (dal 16 agosto)</vt:lpstr>
      <vt:lpstr>Le infrastrutture per lo screening sanitario disponibili a Roma Fiumicino Dal 16 agosto sono condotti presso il terminal 3 test rapidi antigenici con la collaborazione di Regione Lazio e USMAF</vt:lpstr>
      <vt:lpstr>Le infrastrutture per lo screening sanitario disponibili a Roma Fiumicino Dal 1° settembre è operativo un drive-in di 8000 mq presso il parcheggio lunga sosta con la collaborazione di Regione e CRI</vt:lpstr>
      <vt:lpstr>Le infrastrutture per lo screening sanitario disponibili a Roma Fiumicino Dal 16 settembre è un corso una sperimentazione per l’esecuzione di test antigenici rapidi sui passeggeri in partenza</vt:lpstr>
      <vt:lpstr>Progetto di sperimentazione di voli «Covid-tested» da Paesi extra-UE verso Fiumicino</vt:lpstr>
      <vt:lpstr>In corso interazioni con i principali stakeholder per favorire l’applicazione dei nuovi protocolli per voli «Covid-free»</vt:lpstr>
      <vt:lpstr> Nonostante le misure intraprese ADR rimane in condizioni  di elevato stress economico/finanziario</vt:lpstr>
      <vt:lpstr>Capex 2020: avanzamento piano condizionato da emergenza Covid-19 e conseguente calo del traffico</vt:lpstr>
      <vt:lpstr>Dal 2016 costante riduzione tariffaria a FCO…</vt:lpstr>
      <vt:lpstr>Presentazione standard di PowerPoint</vt:lpstr>
      <vt:lpstr>Presentazione standard di PowerPoint</vt:lpstr>
      <vt:lpstr>Format Guide Workshop</vt:lpstr>
    </vt:vector>
  </TitlesOfParts>
  <Company>The Boston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Soleri Fabio</cp:lastModifiedBy>
  <cp:revision>1246</cp:revision>
  <cp:lastPrinted>2020-10-07T13:21:18Z</cp:lastPrinted>
  <dcterms:created xsi:type="dcterms:W3CDTF">2020-07-11T01:37:44Z</dcterms:created>
  <dcterms:modified xsi:type="dcterms:W3CDTF">2020-10-13T15:0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